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slideLayouts/slideLayout7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9" r:id="rId5"/>
    <p:sldMasterId id="2147483744" r:id="rId6"/>
    <p:sldMasterId id="2147483875" r:id="rId7"/>
    <p:sldMasterId id="2147483880" r:id="rId8"/>
  </p:sldMasterIdLst>
  <p:notesMasterIdLst>
    <p:notesMasterId r:id="rId25"/>
  </p:notesMasterIdLst>
  <p:sldIdLst>
    <p:sldId id="257" r:id="rId9"/>
    <p:sldId id="2147481768" r:id="rId10"/>
    <p:sldId id="2147481758" r:id="rId11"/>
    <p:sldId id="2147481759" r:id="rId12"/>
    <p:sldId id="2147481775" r:id="rId13"/>
    <p:sldId id="2147481760" r:id="rId14"/>
    <p:sldId id="2147481776" r:id="rId15"/>
    <p:sldId id="2147481761" r:id="rId16"/>
    <p:sldId id="2147481767" r:id="rId17"/>
    <p:sldId id="2147481769" r:id="rId18"/>
    <p:sldId id="2147481770" r:id="rId19"/>
    <p:sldId id="2147481766" r:id="rId20"/>
    <p:sldId id="2147481774" r:id="rId21"/>
    <p:sldId id="2147481765" r:id="rId22"/>
    <p:sldId id="2147481772" r:id="rId23"/>
    <p:sldId id="2147481757" r:id="rId24"/>
  </p:sldIdLst>
  <p:sldSz cx="12192000" cy="6858000"/>
  <p:notesSz cx="7315200" cy="9601200"/>
  <p:defaultTex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troduction" id="{B0BD4528-CCEF-4CAC-92E3-C5F70A99317A}">
          <p14:sldIdLst>
            <p14:sldId id="257"/>
            <p14:sldId id="2147481768"/>
            <p14:sldId id="2147481758"/>
            <p14:sldId id="2147481759"/>
            <p14:sldId id="2147481775"/>
            <p14:sldId id="2147481760"/>
            <p14:sldId id="2147481776"/>
            <p14:sldId id="2147481761"/>
          </p14:sldIdLst>
        </p14:section>
        <p14:section name="Syllabus" id="{7BAA74AA-9FFB-4161-BE4C-E1AF2774A50E}">
          <p14:sldIdLst>
            <p14:sldId id="2147481767"/>
            <p14:sldId id="2147481769"/>
            <p14:sldId id="2147481770"/>
          </p14:sldIdLst>
        </p14:section>
        <p14:section name="Internship Reflection" id="{81ED9369-8458-4424-8964-A45DA6C745DE}">
          <p14:sldIdLst>
            <p14:sldId id="2147481766"/>
            <p14:sldId id="2147481774"/>
          </p14:sldIdLst>
        </p14:section>
        <p14:section name="Lab" id="{30E5DE20-0F43-4B66-9EE2-15AAF91315D9}">
          <p14:sldIdLst>
            <p14:sldId id="2147481765"/>
            <p14:sldId id="2147481772"/>
          </p14:sldIdLst>
        </p14:section>
        <p14:section name="Conclusion" id="{3DC7C308-CAC0-44D4-A57B-61388555F75D}">
          <p14:sldIdLst>
            <p14:sldId id="214748175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nnifer Kosar (US)" initials="J(" lastIdx="2" clrIdx="0">
    <p:extLst>
      <p:ext uri="{19B8F6BF-5375-455C-9EA6-DF929625EA0E}">
        <p15:presenceInfo xmlns:p15="http://schemas.microsoft.com/office/powerpoint/2012/main" userId="S::jennifer.kosar@pwc.com::d3652996-adbe-485d-b6d7-61e0ddb5a58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9083BD-FBA8-48DF-9C04-5EA797058F10}" v="17" dt="2025-04-01T19:48:4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2" autoAdjust="0"/>
    <p:restoredTop sz="94660"/>
  </p:normalViewPr>
  <p:slideViewPr>
    <p:cSldViewPr snapToGrid="0">
      <p:cViewPr varScale="1">
        <p:scale>
          <a:sx n="110" d="100"/>
          <a:sy n="110" d="100"/>
        </p:scale>
        <p:origin x="114" y="10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er Curtis" userId="494c4f5b-6d11-415a-9d9e-829c1135aa91" providerId="ADAL" clId="{769083BD-FBA8-48DF-9C04-5EA797058F10}"/>
    <pc:docChg chg="undo redo custSel addSld delSld modSld sldOrd delMainMaster addSection delSection modSection modNotesMaster">
      <pc:chgData name="Asher Curtis" userId="494c4f5b-6d11-415a-9d9e-829c1135aa91" providerId="ADAL" clId="{769083BD-FBA8-48DF-9C04-5EA797058F10}" dt="2025-04-01T19:55:29.173" v="1572" actId="47"/>
      <pc:docMkLst>
        <pc:docMk/>
      </pc:docMkLst>
      <pc:sldChg chg="del">
        <pc:chgData name="Asher Curtis" userId="494c4f5b-6d11-415a-9d9e-829c1135aa91" providerId="ADAL" clId="{769083BD-FBA8-48DF-9C04-5EA797058F10}" dt="2025-04-01T19:20:04.489" v="233" actId="47"/>
        <pc:sldMkLst>
          <pc:docMk/>
          <pc:sldMk cId="0" sldId="256"/>
        </pc:sldMkLst>
      </pc:sldChg>
      <pc:sldChg chg="modSp mod">
        <pc:chgData name="Asher Curtis" userId="494c4f5b-6d11-415a-9d9e-829c1135aa91" providerId="ADAL" clId="{769083BD-FBA8-48DF-9C04-5EA797058F10}" dt="2025-04-01T19:07:54.096" v="5" actId="1076"/>
        <pc:sldMkLst>
          <pc:docMk/>
          <pc:sldMk cId="4294885419" sldId="257"/>
        </pc:sldMkLst>
        <pc:spChg chg="mod">
          <ac:chgData name="Asher Curtis" userId="494c4f5b-6d11-415a-9d9e-829c1135aa91" providerId="ADAL" clId="{769083BD-FBA8-48DF-9C04-5EA797058F10}" dt="2025-04-01T19:07:54.096" v="5" actId="1076"/>
          <ac:spMkLst>
            <pc:docMk/>
            <pc:sldMk cId="4294885419" sldId="257"/>
            <ac:spMk id="2" creationId="{74AD50E3-743F-2ED1-9167-6F49921E6745}"/>
          </ac:spMkLst>
        </pc:spChg>
        <pc:spChg chg="mod">
          <ac:chgData name="Asher Curtis" userId="494c4f5b-6d11-415a-9d9e-829c1135aa91" providerId="ADAL" clId="{769083BD-FBA8-48DF-9C04-5EA797058F10}" dt="2025-04-01T19:07:27.171" v="1" actId="20577"/>
          <ac:spMkLst>
            <pc:docMk/>
            <pc:sldMk cId="4294885419" sldId="257"/>
            <ac:spMk id="3" creationId="{A0397259-DAB5-AB54-FA12-2190040605BC}"/>
          </ac:spMkLst>
        </pc:spChg>
      </pc:sldChg>
      <pc:sldChg chg="del">
        <pc:chgData name="Asher Curtis" userId="494c4f5b-6d11-415a-9d9e-829c1135aa91" providerId="ADAL" clId="{769083BD-FBA8-48DF-9C04-5EA797058F10}" dt="2025-04-01T19:20:04.489" v="233" actId="47"/>
        <pc:sldMkLst>
          <pc:docMk/>
          <pc:sldMk cId="0" sldId="258"/>
        </pc:sldMkLst>
      </pc:sldChg>
      <pc:sldChg chg="del">
        <pc:chgData name="Asher Curtis" userId="494c4f5b-6d11-415a-9d9e-829c1135aa91" providerId="ADAL" clId="{769083BD-FBA8-48DF-9C04-5EA797058F10}" dt="2025-04-01T19:11:00.121" v="53" actId="47"/>
        <pc:sldMkLst>
          <pc:docMk/>
          <pc:sldMk cId="3082488491" sldId="259"/>
        </pc:sldMkLst>
      </pc:sldChg>
      <pc:sldChg chg="del">
        <pc:chgData name="Asher Curtis" userId="494c4f5b-6d11-415a-9d9e-829c1135aa91" providerId="ADAL" clId="{769083BD-FBA8-48DF-9C04-5EA797058F10}" dt="2025-04-01T19:11:04.039" v="54" actId="47"/>
        <pc:sldMkLst>
          <pc:docMk/>
          <pc:sldMk cId="2241514803" sldId="260"/>
        </pc:sldMkLst>
      </pc:sldChg>
      <pc:sldChg chg="del">
        <pc:chgData name="Asher Curtis" userId="494c4f5b-6d11-415a-9d9e-829c1135aa91" providerId="ADAL" clId="{769083BD-FBA8-48DF-9C04-5EA797058F10}" dt="2025-04-01T19:11:04.039" v="54" actId="47"/>
        <pc:sldMkLst>
          <pc:docMk/>
          <pc:sldMk cId="936119673" sldId="261"/>
        </pc:sldMkLst>
      </pc:sldChg>
      <pc:sldChg chg="del">
        <pc:chgData name="Asher Curtis" userId="494c4f5b-6d11-415a-9d9e-829c1135aa91" providerId="ADAL" clId="{769083BD-FBA8-48DF-9C04-5EA797058F10}" dt="2025-04-01T19:20:04.489" v="233" actId="47"/>
        <pc:sldMkLst>
          <pc:docMk/>
          <pc:sldMk cId="0" sldId="263"/>
        </pc:sldMkLst>
      </pc:sldChg>
      <pc:sldChg chg="del">
        <pc:chgData name="Asher Curtis" userId="494c4f5b-6d11-415a-9d9e-829c1135aa91" providerId="ADAL" clId="{769083BD-FBA8-48DF-9C04-5EA797058F10}" dt="2025-04-01T19:20:04.489" v="233" actId="47"/>
        <pc:sldMkLst>
          <pc:docMk/>
          <pc:sldMk cId="3625762633" sldId="281"/>
        </pc:sldMkLst>
      </pc:sldChg>
      <pc:sldChg chg="del">
        <pc:chgData name="Asher Curtis" userId="494c4f5b-6d11-415a-9d9e-829c1135aa91" providerId="ADAL" clId="{769083BD-FBA8-48DF-9C04-5EA797058F10}" dt="2025-04-01T19:20:04.489" v="233" actId="47"/>
        <pc:sldMkLst>
          <pc:docMk/>
          <pc:sldMk cId="1240162388" sldId="297"/>
        </pc:sldMkLst>
      </pc:sldChg>
      <pc:sldChg chg="del">
        <pc:chgData name="Asher Curtis" userId="494c4f5b-6d11-415a-9d9e-829c1135aa91" providerId="ADAL" clId="{769083BD-FBA8-48DF-9C04-5EA797058F10}" dt="2025-04-01T19:20:04.489" v="233" actId="47"/>
        <pc:sldMkLst>
          <pc:docMk/>
          <pc:sldMk cId="3366485744" sldId="309"/>
        </pc:sldMkLst>
      </pc:sldChg>
      <pc:sldChg chg="del">
        <pc:chgData name="Asher Curtis" userId="494c4f5b-6d11-415a-9d9e-829c1135aa91" providerId="ADAL" clId="{769083BD-FBA8-48DF-9C04-5EA797058F10}" dt="2025-04-01T19:20:04.489" v="233" actId="47"/>
        <pc:sldMkLst>
          <pc:docMk/>
          <pc:sldMk cId="926682980" sldId="312"/>
        </pc:sldMkLst>
      </pc:sldChg>
      <pc:sldChg chg="del">
        <pc:chgData name="Asher Curtis" userId="494c4f5b-6d11-415a-9d9e-829c1135aa91" providerId="ADAL" clId="{769083BD-FBA8-48DF-9C04-5EA797058F10}" dt="2025-04-01T19:20:04.489" v="233" actId="47"/>
        <pc:sldMkLst>
          <pc:docMk/>
          <pc:sldMk cId="3715540832" sldId="315"/>
        </pc:sldMkLst>
      </pc:sldChg>
      <pc:sldChg chg="del">
        <pc:chgData name="Asher Curtis" userId="494c4f5b-6d11-415a-9d9e-829c1135aa91" providerId="ADAL" clId="{769083BD-FBA8-48DF-9C04-5EA797058F10}" dt="2025-04-01T19:19:40.156" v="232" actId="47"/>
        <pc:sldMkLst>
          <pc:docMk/>
          <pc:sldMk cId="1682065133" sldId="470"/>
        </pc:sldMkLst>
      </pc:sldChg>
      <pc:sldChg chg="del">
        <pc:chgData name="Asher Curtis" userId="494c4f5b-6d11-415a-9d9e-829c1135aa91" providerId="ADAL" clId="{769083BD-FBA8-48DF-9C04-5EA797058F10}" dt="2025-04-01T19:16:00.491" v="180" actId="47"/>
        <pc:sldMkLst>
          <pc:docMk/>
          <pc:sldMk cId="1687139097" sldId="3767"/>
        </pc:sldMkLst>
      </pc:sldChg>
      <pc:sldChg chg="del">
        <pc:chgData name="Asher Curtis" userId="494c4f5b-6d11-415a-9d9e-829c1135aa91" providerId="ADAL" clId="{769083BD-FBA8-48DF-9C04-5EA797058F10}" dt="2025-04-01T19:19:40.156" v="232" actId="47"/>
        <pc:sldMkLst>
          <pc:docMk/>
          <pc:sldMk cId="561879432" sldId="2145706148"/>
        </pc:sldMkLst>
      </pc:sldChg>
      <pc:sldChg chg="del">
        <pc:chgData name="Asher Curtis" userId="494c4f5b-6d11-415a-9d9e-829c1135aa91" providerId="ADAL" clId="{769083BD-FBA8-48DF-9C04-5EA797058F10}" dt="2025-04-01T19:19:24.298" v="231" actId="47"/>
        <pc:sldMkLst>
          <pc:docMk/>
          <pc:sldMk cId="1867693912" sldId="2147308442"/>
        </pc:sldMkLst>
      </pc:sldChg>
      <pc:sldChg chg="delSp modSp del mod">
        <pc:chgData name="Asher Curtis" userId="494c4f5b-6d11-415a-9d9e-829c1135aa91" providerId="ADAL" clId="{769083BD-FBA8-48DF-9C04-5EA797058F10}" dt="2025-04-01T19:19:40.156" v="232" actId="47"/>
        <pc:sldMkLst>
          <pc:docMk/>
          <pc:sldMk cId="2637678798" sldId="2147308452"/>
        </pc:sldMkLst>
        <pc:picChg chg="del mod">
          <ac:chgData name="Asher Curtis" userId="494c4f5b-6d11-415a-9d9e-829c1135aa91" providerId="ADAL" clId="{769083BD-FBA8-48DF-9C04-5EA797058F10}" dt="2025-04-01T19:14:13.882" v="156" actId="21"/>
          <ac:picMkLst>
            <pc:docMk/>
            <pc:sldMk cId="2637678798" sldId="2147308452"/>
            <ac:picMk id="5" creationId="{22826F60-78A6-6FA9-1DFD-148A13897D84}"/>
          </ac:picMkLst>
        </pc:picChg>
      </pc:sldChg>
      <pc:sldChg chg="del">
        <pc:chgData name="Asher Curtis" userId="494c4f5b-6d11-415a-9d9e-829c1135aa91" providerId="ADAL" clId="{769083BD-FBA8-48DF-9C04-5EA797058F10}" dt="2025-04-01T19:20:04.489" v="233" actId="47"/>
        <pc:sldMkLst>
          <pc:docMk/>
          <pc:sldMk cId="3374952648" sldId="2147376659"/>
        </pc:sldMkLst>
      </pc:sldChg>
      <pc:sldChg chg="del">
        <pc:chgData name="Asher Curtis" userId="494c4f5b-6d11-415a-9d9e-829c1135aa91" providerId="ADAL" clId="{769083BD-FBA8-48DF-9C04-5EA797058F10}" dt="2025-04-01T19:20:04.489" v="233" actId="47"/>
        <pc:sldMkLst>
          <pc:docMk/>
          <pc:sldMk cId="658271469" sldId="2147376660"/>
        </pc:sldMkLst>
      </pc:sldChg>
      <pc:sldChg chg="del">
        <pc:chgData name="Asher Curtis" userId="494c4f5b-6d11-415a-9d9e-829c1135aa91" providerId="ADAL" clId="{769083BD-FBA8-48DF-9C04-5EA797058F10}" dt="2025-04-01T19:20:04.489" v="233" actId="47"/>
        <pc:sldMkLst>
          <pc:docMk/>
          <pc:sldMk cId="1454300944" sldId="2147376686"/>
        </pc:sldMkLst>
      </pc:sldChg>
      <pc:sldChg chg="del">
        <pc:chgData name="Asher Curtis" userId="494c4f5b-6d11-415a-9d9e-829c1135aa91" providerId="ADAL" clId="{769083BD-FBA8-48DF-9C04-5EA797058F10}" dt="2025-04-01T19:20:04.489" v="233" actId="47"/>
        <pc:sldMkLst>
          <pc:docMk/>
          <pc:sldMk cId="0" sldId="2147376707"/>
        </pc:sldMkLst>
      </pc:sldChg>
      <pc:sldChg chg="del">
        <pc:chgData name="Asher Curtis" userId="494c4f5b-6d11-415a-9d9e-829c1135aa91" providerId="ADAL" clId="{769083BD-FBA8-48DF-9C04-5EA797058F10}" dt="2025-04-01T19:20:04.489" v="233" actId="47"/>
        <pc:sldMkLst>
          <pc:docMk/>
          <pc:sldMk cId="0" sldId="2147376709"/>
        </pc:sldMkLst>
      </pc:sldChg>
      <pc:sldChg chg="del">
        <pc:chgData name="Asher Curtis" userId="494c4f5b-6d11-415a-9d9e-829c1135aa91" providerId="ADAL" clId="{769083BD-FBA8-48DF-9C04-5EA797058F10}" dt="2025-04-01T19:20:04.489" v="233" actId="47"/>
        <pc:sldMkLst>
          <pc:docMk/>
          <pc:sldMk cId="0" sldId="2147376711"/>
        </pc:sldMkLst>
      </pc:sldChg>
      <pc:sldChg chg="del">
        <pc:chgData name="Asher Curtis" userId="494c4f5b-6d11-415a-9d9e-829c1135aa91" providerId="ADAL" clId="{769083BD-FBA8-48DF-9C04-5EA797058F10}" dt="2025-04-01T19:20:04.489" v="233" actId="47"/>
        <pc:sldMkLst>
          <pc:docMk/>
          <pc:sldMk cId="0" sldId="2147376712"/>
        </pc:sldMkLst>
      </pc:sldChg>
      <pc:sldChg chg="del">
        <pc:chgData name="Asher Curtis" userId="494c4f5b-6d11-415a-9d9e-829c1135aa91" providerId="ADAL" clId="{769083BD-FBA8-48DF-9C04-5EA797058F10}" dt="2025-04-01T19:20:04.489" v="233" actId="47"/>
        <pc:sldMkLst>
          <pc:docMk/>
          <pc:sldMk cId="0" sldId="2147376713"/>
        </pc:sldMkLst>
      </pc:sldChg>
      <pc:sldChg chg="del">
        <pc:chgData name="Asher Curtis" userId="494c4f5b-6d11-415a-9d9e-829c1135aa91" providerId="ADAL" clId="{769083BD-FBA8-48DF-9C04-5EA797058F10}" dt="2025-04-01T19:20:04.489" v="233" actId="47"/>
        <pc:sldMkLst>
          <pc:docMk/>
          <pc:sldMk cId="1269847089" sldId="2147376727"/>
        </pc:sldMkLst>
      </pc:sldChg>
      <pc:sldChg chg="del">
        <pc:chgData name="Asher Curtis" userId="494c4f5b-6d11-415a-9d9e-829c1135aa91" providerId="ADAL" clId="{769083BD-FBA8-48DF-9C04-5EA797058F10}" dt="2025-04-01T19:20:04.489" v="233" actId="47"/>
        <pc:sldMkLst>
          <pc:docMk/>
          <pc:sldMk cId="1984362648" sldId="2147376730"/>
        </pc:sldMkLst>
      </pc:sldChg>
      <pc:sldChg chg="del">
        <pc:chgData name="Asher Curtis" userId="494c4f5b-6d11-415a-9d9e-829c1135aa91" providerId="ADAL" clId="{769083BD-FBA8-48DF-9C04-5EA797058F10}" dt="2025-04-01T19:20:04.489" v="233" actId="47"/>
        <pc:sldMkLst>
          <pc:docMk/>
          <pc:sldMk cId="3542522306" sldId="2147376732"/>
        </pc:sldMkLst>
      </pc:sldChg>
      <pc:sldChg chg="del">
        <pc:chgData name="Asher Curtis" userId="494c4f5b-6d11-415a-9d9e-829c1135aa91" providerId="ADAL" clId="{769083BD-FBA8-48DF-9C04-5EA797058F10}" dt="2025-04-01T19:20:04.489" v="233" actId="47"/>
        <pc:sldMkLst>
          <pc:docMk/>
          <pc:sldMk cId="623710790" sldId="2147376734"/>
        </pc:sldMkLst>
      </pc:sldChg>
      <pc:sldChg chg="del">
        <pc:chgData name="Asher Curtis" userId="494c4f5b-6d11-415a-9d9e-829c1135aa91" providerId="ADAL" clId="{769083BD-FBA8-48DF-9C04-5EA797058F10}" dt="2025-04-01T19:20:04.489" v="233" actId="47"/>
        <pc:sldMkLst>
          <pc:docMk/>
          <pc:sldMk cId="3504915041" sldId="2147376735"/>
        </pc:sldMkLst>
      </pc:sldChg>
      <pc:sldChg chg="del">
        <pc:chgData name="Asher Curtis" userId="494c4f5b-6d11-415a-9d9e-829c1135aa91" providerId="ADAL" clId="{769083BD-FBA8-48DF-9C04-5EA797058F10}" dt="2025-04-01T19:19:40.156" v="232" actId="47"/>
        <pc:sldMkLst>
          <pc:docMk/>
          <pc:sldMk cId="1294353480" sldId="2147472391"/>
        </pc:sldMkLst>
      </pc:sldChg>
      <pc:sldChg chg="del">
        <pc:chgData name="Asher Curtis" userId="494c4f5b-6d11-415a-9d9e-829c1135aa91" providerId="ADAL" clId="{769083BD-FBA8-48DF-9C04-5EA797058F10}" dt="2025-04-01T19:19:40.156" v="232" actId="47"/>
        <pc:sldMkLst>
          <pc:docMk/>
          <pc:sldMk cId="2780750014" sldId="2147472394"/>
        </pc:sldMkLst>
      </pc:sldChg>
      <pc:sldChg chg="del">
        <pc:chgData name="Asher Curtis" userId="494c4f5b-6d11-415a-9d9e-829c1135aa91" providerId="ADAL" clId="{769083BD-FBA8-48DF-9C04-5EA797058F10}" dt="2025-04-01T19:19:40.156" v="232" actId="47"/>
        <pc:sldMkLst>
          <pc:docMk/>
          <pc:sldMk cId="1339778598" sldId="2147473256"/>
        </pc:sldMkLst>
      </pc:sldChg>
      <pc:sldChg chg="del">
        <pc:chgData name="Asher Curtis" userId="494c4f5b-6d11-415a-9d9e-829c1135aa91" providerId="ADAL" clId="{769083BD-FBA8-48DF-9C04-5EA797058F10}" dt="2025-04-01T19:19:40.156" v="232" actId="47"/>
        <pc:sldMkLst>
          <pc:docMk/>
          <pc:sldMk cId="1157510635" sldId="2147473259"/>
        </pc:sldMkLst>
      </pc:sldChg>
      <pc:sldChg chg="del">
        <pc:chgData name="Asher Curtis" userId="494c4f5b-6d11-415a-9d9e-829c1135aa91" providerId="ADAL" clId="{769083BD-FBA8-48DF-9C04-5EA797058F10}" dt="2025-04-01T19:19:40.156" v="232" actId="47"/>
        <pc:sldMkLst>
          <pc:docMk/>
          <pc:sldMk cId="14503157" sldId="2147473262"/>
        </pc:sldMkLst>
      </pc:sldChg>
      <pc:sldChg chg="del">
        <pc:chgData name="Asher Curtis" userId="494c4f5b-6d11-415a-9d9e-829c1135aa91" providerId="ADAL" clId="{769083BD-FBA8-48DF-9C04-5EA797058F10}" dt="2025-04-01T19:19:40.156" v="232" actId="47"/>
        <pc:sldMkLst>
          <pc:docMk/>
          <pc:sldMk cId="685803482" sldId="2147473898"/>
        </pc:sldMkLst>
      </pc:sldChg>
      <pc:sldChg chg="del">
        <pc:chgData name="Asher Curtis" userId="494c4f5b-6d11-415a-9d9e-829c1135aa91" providerId="ADAL" clId="{769083BD-FBA8-48DF-9C04-5EA797058F10}" dt="2025-04-01T19:19:40.156" v="232" actId="47"/>
        <pc:sldMkLst>
          <pc:docMk/>
          <pc:sldMk cId="3127169661" sldId="2147473902"/>
        </pc:sldMkLst>
      </pc:sldChg>
      <pc:sldChg chg="del">
        <pc:chgData name="Asher Curtis" userId="494c4f5b-6d11-415a-9d9e-829c1135aa91" providerId="ADAL" clId="{769083BD-FBA8-48DF-9C04-5EA797058F10}" dt="2025-04-01T19:19:40.156" v="232" actId="47"/>
        <pc:sldMkLst>
          <pc:docMk/>
          <pc:sldMk cId="2332405817" sldId="2147474466"/>
        </pc:sldMkLst>
      </pc:sldChg>
      <pc:sldChg chg="del">
        <pc:chgData name="Asher Curtis" userId="494c4f5b-6d11-415a-9d9e-829c1135aa91" providerId="ADAL" clId="{769083BD-FBA8-48DF-9C04-5EA797058F10}" dt="2025-04-01T19:19:40.156" v="232" actId="47"/>
        <pc:sldMkLst>
          <pc:docMk/>
          <pc:sldMk cId="2654063139" sldId="2147474490"/>
        </pc:sldMkLst>
      </pc:sldChg>
      <pc:sldChg chg="del">
        <pc:chgData name="Asher Curtis" userId="494c4f5b-6d11-415a-9d9e-829c1135aa91" providerId="ADAL" clId="{769083BD-FBA8-48DF-9C04-5EA797058F10}" dt="2025-04-01T19:19:40.156" v="232" actId="47"/>
        <pc:sldMkLst>
          <pc:docMk/>
          <pc:sldMk cId="1824880395" sldId="2147474492"/>
        </pc:sldMkLst>
      </pc:sldChg>
      <pc:sldChg chg="del">
        <pc:chgData name="Asher Curtis" userId="494c4f5b-6d11-415a-9d9e-829c1135aa91" providerId="ADAL" clId="{769083BD-FBA8-48DF-9C04-5EA797058F10}" dt="2025-04-01T19:19:40.156" v="232" actId="47"/>
        <pc:sldMkLst>
          <pc:docMk/>
          <pc:sldMk cId="2033158157" sldId="2147474495"/>
        </pc:sldMkLst>
      </pc:sldChg>
      <pc:sldChg chg="del">
        <pc:chgData name="Asher Curtis" userId="494c4f5b-6d11-415a-9d9e-829c1135aa91" providerId="ADAL" clId="{769083BD-FBA8-48DF-9C04-5EA797058F10}" dt="2025-04-01T19:19:40.156" v="232" actId="47"/>
        <pc:sldMkLst>
          <pc:docMk/>
          <pc:sldMk cId="1437383741" sldId="2147480662"/>
        </pc:sldMkLst>
      </pc:sldChg>
      <pc:sldChg chg="del">
        <pc:chgData name="Asher Curtis" userId="494c4f5b-6d11-415a-9d9e-829c1135aa91" providerId="ADAL" clId="{769083BD-FBA8-48DF-9C04-5EA797058F10}" dt="2025-04-01T19:19:40.156" v="232" actId="47"/>
        <pc:sldMkLst>
          <pc:docMk/>
          <pc:sldMk cId="2367280764" sldId="2147480663"/>
        </pc:sldMkLst>
      </pc:sldChg>
      <pc:sldChg chg="del">
        <pc:chgData name="Asher Curtis" userId="494c4f5b-6d11-415a-9d9e-829c1135aa91" providerId="ADAL" clId="{769083BD-FBA8-48DF-9C04-5EA797058F10}" dt="2025-04-01T19:19:40.156" v="232" actId="47"/>
        <pc:sldMkLst>
          <pc:docMk/>
          <pc:sldMk cId="544880075" sldId="2147481696"/>
        </pc:sldMkLst>
      </pc:sldChg>
      <pc:sldChg chg="del">
        <pc:chgData name="Asher Curtis" userId="494c4f5b-6d11-415a-9d9e-829c1135aa91" providerId="ADAL" clId="{769083BD-FBA8-48DF-9C04-5EA797058F10}" dt="2025-04-01T19:19:40.156" v="232" actId="47"/>
        <pc:sldMkLst>
          <pc:docMk/>
          <pc:sldMk cId="2459041326" sldId="2147481706"/>
        </pc:sldMkLst>
      </pc:sldChg>
      <pc:sldChg chg="del">
        <pc:chgData name="Asher Curtis" userId="494c4f5b-6d11-415a-9d9e-829c1135aa91" providerId="ADAL" clId="{769083BD-FBA8-48DF-9C04-5EA797058F10}" dt="2025-04-01T19:19:40.156" v="232" actId="47"/>
        <pc:sldMkLst>
          <pc:docMk/>
          <pc:sldMk cId="3401898733" sldId="2147481708"/>
        </pc:sldMkLst>
      </pc:sldChg>
      <pc:sldChg chg="del">
        <pc:chgData name="Asher Curtis" userId="494c4f5b-6d11-415a-9d9e-829c1135aa91" providerId="ADAL" clId="{769083BD-FBA8-48DF-9C04-5EA797058F10}" dt="2025-04-01T19:19:40.156" v="232" actId="47"/>
        <pc:sldMkLst>
          <pc:docMk/>
          <pc:sldMk cId="732748481" sldId="2147481715"/>
        </pc:sldMkLst>
      </pc:sldChg>
      <pc:sldChg chg="del">
        <pc:chgData name="Asher Curtis" userId="494c4f5b-6d11-415a-9d9e-829c1135aa91" providerId="ADAL" clId="{769083BD-FBA8-48DF-9C04-5EA797058F10}" dt="2025-04-01T19:19:40.156" v="232" actId="47"/>
        <pc:sldMkLst>
          <pc:docMk/>
          <pc:sldMk cId="4155233574" sldId="2147481716"/>
        </pc:sldMkLst>
      </pc:sldChg>
      <pc:sldChg chg="del">
        <pc:chgData name="Asher Curtis" userId="494c4f5b-6d11-415a-9d9e-829c1135aa91" providerId="ADAL" clId="{769083BD-FBA8-48DF-9C04-5EA797058F10}" dt="2025-04-01T19:19:40.156" v="232" actId="47"/>
        <pc:sldMkLst>
          <pc:docMk/>
          <pc:sldMk cId="2840098743" sldId="2147481717"/>
        </pc:sldMkLst>
      </pc:sldChg>
      <pc:sldChg chg="del">
        <pc:chgData name="Asher Curtis" userId="494c4f5b-6d11-415a-9d9e-829c1135aa91" providerId="ADAL" clId="{769083BD-FBA8-48DF-9C04-5EA797058F10}" dt="2025-04-01T19:19:40.156" v="232" actId="47"/>
        <pc:sldMkLst>
          <pc:docMk/>
          <pc:sldMk cId="4147822056" sldId="2147481728"/>
        </pc:sldMkLst>
      </pc:sldChg>
      <pc:sldChg chg="del">
        <pc:chgData name="Asher Curtis" userId="494c4f5b-6d11-415a-9d9e-829c1135aa91" providerId="ADAL" clId="{769083BD-FBA8-48DF-9C04-5EA797058F10}" dt="2025-04-01T19:19:40.156" v="232" actId="47"/>
        <pc:sldMkLst>
          <pc:docMk/>
          <pc:sldMk cId="136170366" sldId="2147481729"/>
        </pc:sldMkLst>
      </pc:sldChg>
      <pc:sldChg chg="del">
        <pc:chgData name="Asher Curtis" userId="494c4f5b-6d11-415a-9d9e-829c1135aa91" providerId="ADAL" clId="{769083BD-FBA8-48DF-9C04-5EA797058F10}" dt="2025-04-01T19:19:40.156" v="232" actId="47"/>
        <pc:sldMkLst>
          <pc:docMk/>
          <pc:sldMk cId="2820140555" sldId="2147481730"/>
        </pc:sldMkLst>
      </pc:sldChg>
      <pc:sldChg chg="del">
        <pc:chgData name="Asher Curtis" userId="494c4f5b-6d11-415a-9d9e-829c1135aa91" providerId="ADAL" clId="{769083BD-FBA8-48DF-9C04-5EA797058F10}" dt="2025-04-01T19:19:40.156" v="232" actId="47"/>
        <pc:sldMkLst>
          <pc:docMk/>
          <pc:sldMk cId="726411649" sldId="2147481731"/>
        </pc:sldMkLst>
      </pc:sldChg>
      <pc:sldChg chg="del">
        <pc:chgData name="Asher Curtis" userId="494c4f5b-6d11-415a-9d9e-829c1135aa91" providerId="ADAL" clId="{769083BD-FBA8-48DF-9C04-5EA797058F10}" dt="2025-04-01T19:19:40.156" v="232" actId="47"/>
        <pc:sldMkLst>
          <pc:docMk/>
          <pc:sldMk cId="38047911" sldId="2147481732"/>
        </pc:sldMkLst>
      </pc:sldChg>
      <pc:sldChg chg="del">
        <pc:chgData name="Asher Curtis" userId="494c4f5b-6d11-415a-9d9e-829c1135aa91" providerId="ADAL" clId="{769083BD-FBA8-48DF-9C04-5EA797058F10}" dt="2025-04-01T19:19:40.156" v="232" actId="47"/>
        <pc:sldMkLst>
          <pc:docMk/>
          <pc:sldMk cId="2443956797" sldId="2147481733"/>
        </pc:sldMkLst>
      </pc:sldChg>
      <pc:sldChg chg="del">
        <pc:chgData name="Asher Curtis" userId="494c4f5b-6d11-415a-9d9e-829c1135aa91" providerId="ADAL" clId="{769083BD-FBA8-48DF-9C04-5EA797058F10}" dt="2025-04-01T19:19:40.156" v="232" actId="47"/>
        <pc:sldMkLst>
          <pc:docMk/>
          <pc:sldMk cId="390352363" sldId="2147481735"/>
        </pc:sldMkLst>
      </pc:sldChg>
      <pc:sldChg chg="del">
        <pc:chgData name="Asher Curtis" userId="494c4f5b-6d11-415a-9d9e-829c1135aa91" providerId="ADAL" clId="{769083BD-FBA8-48DF-9C04-5EA797058F10}" dt="2025-04-01T19:20:12.426" v="234" actId="47"/>
        <pc:sldMkLst>
          <pc:docMk/>
          <pc:sldMk cId="3330375117" sldId="2147481737"/>
        </pc:sldMkLst>
      </pc:sldChg>
      <pc:sldChg chg="addSp modSp del mod">
        <pc:chgData name="Asher Curtis" userId="494c4f5b-6d11-415a-9d9e-829c1135aa91" providerId="ADAL" clId="{769083BD-FBA8-48DF-9C04-5EA797058F10}" dt="2025-04-01T19:23:40.394" v="274" actId="47"/>
        <pc:sldMkLst>
          <pc:docMk/>
          <pc:sldMk cId="4167610697" sldId="2147481743"/>
        </pc:sldMkLst>
        <pc:spChg chg="mod">
          <ac:chgData name="Asher Curtis" userId="494c4f5b-6d11-415a-9d9e-829c1135aa91" providerId="ADAL" clId="{769083BD-FBA8-48DF-9C04-5EA797058F10}" dt="2025-04-01T19:08:42.015" v="7" actId="1076"/>
          <ac:spMkLst>
            <pc:docMk/>
            <pc:sldMk cId="4167610697" sldId="2147481743"/>
            <ac:spMk id="3" creationId="{B7CA145C-E0C9-B108-6B1E-FB3A59628054}"/>
          </ac:spMkLst>
        </pc:spChg>
        <pc:spChg chg="add mod">
          <ac:chgData name="Asher Curtis" userId="494c4f5b-6d11-415a-9d9e-829c1135aa91" providerId="ADAL" clId="{769083BD-FBA8-48DF-9C04-5EA797058F10}" dt="2025-04-01T19:13:53.904" v="154" actId="403"/>
          <ac:spMkLst>
            <pc:docMk/>
            <pc:sldMk cId="4167610697" sldId="2147481743"/>
            <ac:spMk id="4" creationId="{6154A11C-FFF7-DFE9-87B8-179BC2DCE4E3}"/>
          </ac:spMkLst>
        </pc:spChg>
        <pc:cxnChg chg="mod">
          <ac:chgData name="Asher Curtis" userId="494c4f5b-6d11-415a-9d9e-829c1135aa91" providerId="ADAL" clId="{769083BD-FBA8-48DF-9C04-5EA797058F10}" dt="2025-04-01T19:08:42.015" v="7" actId="1076"/>
          <ac:cxnSpMkLst>
            <pc:docMk/>
            <pc:sldMk cId="4167610697" sldId="2147481743"/>
            <ac:cxnSpMk id="2" creationId="{ED767E8D-9CFD-0A2F-CF4C-5149F3D5F580}"/>
          </ac:cxnSpMkLst>
        </pc:cxnChg>
      </pc:sldChg>
      <pc:sldChg chg="del">
        <pc:chgData name="Asher Curtis" userId="494c4f5b-6d11-415a-9d9e-829c1135aa91" providerId="ADAL" clId="{769083BD-FBA8-48DF-9C04-5EA797058F10}" dt="2025-04-01T19:19:40.156" v="232" actId="47"/>
        <pc:sldMkLst>
          <pc:docMk/>
          <pc:sldMk cId="603136466" sldId="2147481744"/>
        </pc:sldMkLst>
      </pc:sldChg>
      <pc:sldChg chg="del">
        <pc:chgData name="Asher Curtis" userId="494c4f5b-6d11-415a-9d9e-829c1135aa91" providerId="ADAL" clId="{769083BD-FBA8-48DF-9C04-5EA797058F10}" dt="2025-04-01T19:19:40.156" v="232" actId="47"/>
        <pc:sldMkLst>
          <pc:docMk/>
          <pc:sldMk cId="3539747815" sldId="2147481745"/>
        </pc:sldMkLst>
      </pc:sldChg>
      <pc:sldChg chg="del">
        <pc:chgData name="Asher Curtis" userId="494c4f5b-6d11-415a-9d9e-829c1135aa91" providerId="ADAL" clId="{769083BD-FBA8-48DF-9C04-5EA797058F10}" dt="2025-04-01T19:19:40.156" v="232" actId="47"/>
        <pc:sldMkLst>
          <pc:docMk/>
          <pc:sldMk cId="2120807646" sldId="2147481746"/>
        </pc:sldMkLst>
      </pc:sldChg>
      <pc:sldChg chg="del">
        <pc:chgData name="Asher Curtis" userId="494c4f5b-6d11-415a-9d9e-829c1135aa91" providerId="ADAL" clId="{769083BD-FBA8-48DF-9C04-5EA797058F10}" dt="2025-04-01T19:19:40.156" v="232" actId="47"/>
        <pc:sldMkLst>
          <pc:docMk/>
          <pc:sldMk cId="749487719" sldId="2147481747"/>
        </pc:sldMkLst>
      </pc:sldChg>
      <pc:sldChg chg="del">
        <pc:chgData name="Asher Curtis" userId="494c4f5b-6d11-415a-9d9e-829c1135aa91" providerId="ADAL" clId="{769083BD-FBA8-48DF-9C04-5EA797058F10}" dt="2025-04-01T19:19:40.156" v="232" actId="47"/>
        <pc:sldMkLst>
          <pc:docMk/>
          <pc:sldMk cId="2352772241" sldId="2147481748"/>
        </pc:sldMkLst>
      </pc:sldChg>
      <pc:sldChg chg="del">
        <pc:chgData name="Asher Curtis" userId="494c4f5b-6d11-415a-9d9e-829c1135aa91" providerId="ADAL" clId="{769083BD-FBA8-48DF-9C04-5EA797058F10}" dt="2025-04-01T19:19:40.156" v="232" actId="47"/>
        <pc:sldMkLst>
          <pc:docMk/>
          <pc:sldMk cId="2413852224" sldId="2147481749"/>
        </pc:sldMkLst>
      </pc:sldChg>
      <pc:sldChg chg="del">
        <pc:chgData name="Asher Curtis" userId="494c4f5b-6d11-415a-9d9e-829c1135aa91" providerId="ADAL" clId="{769083BD-FBA8-48DF-9C04-5EA797058F10}" dt="2025-04-01T19:19:40.156" v="232" actId="47"/>
        <pc:sldMkLst>
          <pc:docMk/>
          <pc:sldMk cId="1012398663" sldId="2147481750"/>
        </pc:sldMkLst>
      </pc:sldChg>
      <pc:sldChg chg="del">
        <pc:chgData name="Asher Curtis" userId="494c4f5b-6d11-415a-9d9e-829c1135aa91" providerId="ADAL" clId="{769083BD-FBA8-48DF-9C04-5EA797058F10}" dt="2025-04-01T19:19:40.156" v="232" actId="47"/>
        <pc:sldMkLst>
          <pc:docMk/>
          <pc:sldMk cId="1778724886" sldId="2147481751"/>
        </pc:sldMkLst>
      </pc:sldChg>
      <pc:sldChg chg="del">
        <pc:chgData name="Asher Curtis" userId="494c4f5b-6d11-415a-9d9e-829c1135aa91" providerId="ADAL" clId="{769083BD-FBA8-48DF-9C04-5EA797058F10}" dt="2025-04-01T19:19:40.156" v="232" actId="47"/>
        <pc:sldMkLst>
          <pc:docMk/>
          <pc:sldMk cId="503828976" sldId="2147481752"/>
        </pc:sldMkLst>
      </pc:sldChg>
      <pc:sldChg chg="del">
        <pc:chgData name="Asher Curtis" userId="494c4f5b-6d11-415a-9d9e-829c1135aa91" providerId="ADAL" clId="{769083BD-FBA8-48DF-9C04-5EA797058F10}" dt="2025-04-01T19:19:40.156" v="232" actId="47"/>
        <pc:sldMkLst>
          <pc:docMk/>
          <pc:sldMk cId="2294838430" sldId="2147481753"/>
        </pc:sldMkLst>
      </pc:sldChg>
      <pc:sldChg chg="del">
        <pc:chgData name="Asher Curtis" userId="494c4f5b-6d11-415a-9d9e-829c1135aa91" providerId="ADAL" clId="{769083BD-FBA8-48DF-9C04-5EA797058F10}" dt="2025-04-01T19:19:40.156" v="232" actId="47"/>
        <pc:sldMkLst>
          <pc:docMk/>
          <pc:sldMk cId="2135826564" sldId="2147481754"/>
        </pc:sldMkLst>
      </pc:sldChg>
      <pc:sldChg chg="del">
        <pc:chgData name="Asher Curtis" userId="494c4f5b-6d11-415a-9d9e-829c1135aa91" providerId="ADAL" clId="{769083BD-FBA8-48DF-9C04-5EA797058F10}" dt="2025-04-01T19:19:40.156" v="232" actId="47"/>
        <pc:sldMkLst>
          <pc:docMk/>
          <pc:sldMk cId="2007848140" sldId="2147481755"/>
        </pc:sldMkLst>
      </pc:sldChg>
      <pc:sldChg chg="del">
        <pc:chgData name="Asher Curtis" userId="494c4f5b-6d11-415a-9d9e-829c1135aa91" providerId="ADAL" clId="{769083BD-FBA8-48DF-9C04-5EA797058F10}" dt="2025-04-01T19:19:40.156" v="232" actId="47"/>
        <pc:sldMkLst>
          <pc:docMk/>
          <pc:sldMk cId="3325303966" sldId="2147481756"/>
        </pc:sldMkLst>
      </pc:sldChg>
      <pc:sldChg chg="addSp delSp modSp new mod">
        <pc:chgData name="Asher Curtis" userId="494c4f5b-6d11-415a-9d9e-829c1135aa91" providerId="ADAL" clId="{769083BD-FBA8-48DF-9C04-5EA797058F10}" dt="2025-04-01T19:10:41.737" v="52" actId="20577"/>
        <pc:sldMkLst>
          <pc:docMk/>
          <pc:sldMk cId="1052632874" sldId="2147481758"/>
        </pc:sldMkLst>
        <pc:spChg chg="del">
          <ac:chgData name="Asher Curtis" userId="494c4f5b-6d11-415a-9d9e-829c1135aa91" providerId="ADAL" clId="{769083BD-FBA8-48DF-9C04-5EA797058F10}" dt="2025-04-01T19:09:58.202" v="28" actId="478"/>
          <ac:spMkLst>
            <pc:docMk/>
            <pc:sldMk cId="1052632874" sldId="2147481758"/>
            <ac:spMk id="2" creationId="{5B032EC5-C182-9D57-D44A-7180C46B7773}"/>
          </ac:spMkLst>
        </pc:spChg>
        <pc:spChg chg="mod">
          <ac:chgData name="Asher Curtis" userId="494c4f5b-6d11-415a-9d9e-829c1135aa91" providerId="ADAL" clId="{769083BD-FBA8-48DF-9C04-5EA797058F10}" dt="2025-04-01T19:10:41.737" v="52" actId="20577"/>
          <ac:spMkLst>
            <pc:docMk/>
            <pc:sldMk cId="1052632874" sldId="2147481758"/>
            <ac:spMk id="3" creationId="{3F9A70D7-A92D-8C5A-DEDC-39D5A246341F}"/>
          </ac:spMkLst>
        </pc:spChg>
        <pc:picChg chg="add mod modCrop">
          <ac:chgData name="Asher Curtis" userId="494c4f5b-6d11-415a-9d9e-829c1135aa91" providerId="ADAL" clId="{769083BD-FBA8-48DF-9C04-5EA797058F10}" dt="2025-04-01T19:10:28.185" v="33" actId="732"/>
          <ac:picMkLst>
            <pc:docMk/>
            <pc:sldMk cId="1052632874" sldId="2147481758"/>
            <ac:picMk id="5" creationId="{953493A8-9F79-5A46-79FC-F0677AC6058C}"/>
          </ac:picMkLst>
        </pc:picChg>
      </pc:sldChg>
      <pc:sldChg chg="addSp delSp modSp new mod">
        <pc:chgData name="Asher Curtis" userId="494c4f5b-6d11-415a-9d9e-829c1135aa91" providerId="ADAL" clId="{769083BD-FBA8-48DF-9C04-5EA797058F10}" dt="2025-04-01T19:26:48.164" v="332" actId="20577"/>
        <pc:sldMkLst>
          <pc:docMk/>
          <pc:sldMk cId="82435049" sldId="2147481759"/>
        </pc:sldMkLst>
        <pc:spChg chg="del">
          <ac:chgData name="Asher Curtis" userId="494c4f5b-6d11-415a-9d9e-829c1135aa91" providerId="ADAL" clId="{769083BD-FBA8-48DF-9C04-5EA797058F10}" dt="2025-04-01T19:14:21.173" v="157" actId="478"/>
          <ac:spMkLst>
            <pc:docMk/>
            <pc:sldMk cId="82435049" sldId="2147481759"/>
            <ac:spMk id="2" creationId="{80E87318-D2BF-EA84-5D93-624F8029EF4C}"/>
          </ac:spMkLst>
        </pc:spChg>
        <pc:spChg chg="mod">
          <ac:chgData name="Asher Curtis" userId="494c4f5b-6d11-415a-9d9e-829c1135aa91" providerId="ADAL" clId="{769083BD-FBA8-48DF-9C04-5EA797058F10}" dt="2025-04-01T19:26:48.164" v="332" actId="20577"/>
          <ac:spMkLst>
            <pc:docMk/>
            <pc:sldMk cId="82435049" sldId="2147481759"/>
            <ac:spMk id="3" creationId="{3BA4A68E-745D-990F-B49E-207073114AB8}"/>
          </ac:spMkLst>
        </pc:spChg>
        <pc:picChg chg="add mod modCrop">
          <ac:chgData name="Asher Curtis" userId="494c4f5b-6d11-415a-9d9e-829c1135aa91" providerId="ADAL" clId="{769083BD-FBA8-48DF-9C04-5EA797058F10}" dt="2025-04-01T19:26:29.626" v="299" actId="1076"/>
          <ac:picMkLst>
            <pc:docMk/>
            <pc:sldMk cId="82435049" sldId="2147481759"/>
            <ac:picMk id="4" creationId="{68DA4DEE-EF35-AAAE-986E-40F6AEE07CE2}"/>
          </ac:picMkLst>
        </pc:picChg>
        <pc:picChg chg="add mod modCrop">
          <ac:chgData name="Asher Curtis" userId="494c4f5b-6d11-415a-9d9e-829c1135aa91" providerId="ADAL" clId="{769083BD-FBA8-48DF-9C04-5EA797058F10}" dt="2025-04-01T19:15:27.513" v="179" actId="207"/>
          <ac:picMkLst>
            <pc:docMk/>
            <pc:sldMk cId="82435049" sldId="2147481759"/>
            <ac:picMk id="5" creationId="{22826F60-78A6-6FA9-1DFD-148A13897D84}"/>
          </ac:picMkLst>
        </pc:picChg>
      </pc:sldChg>
      <pc:sldChg chg="modSp add mod">
        <pc:chgData name="Asher Curtis" userId="494c4f5b-6d11-415a-9d9e-829c1135aa91" providerId="ADAL" clId="{769083BD-FBA8-48DF-9C04-5EA797058F10}" dt="2025-04-01T19:54:17.738" v="1532" actId="20577"/>
        <pc:sldMkLst>
          <pc:docMk/>
          <pc:sldMk cId="3994724605" sldId="2147481760"/>
        </pc:sldMkLst>
        <pc:spChg chg="mod">
          <ac:chgData name="Asher Curtis" userId="494c4f5b-6d11-415a-9d9e-829c1135aa91" providerId="ADAL" clId="{769083BD-FBA8-48DF-9C04-5EA797058F10}" dt="2025-04-01T19:52:21.099" v="1235" actId="20577"/>
          <ac:spMkLst>
            <pc:docMk/>
            <pc:sldMk cId="3994724605" sldId="2147481760"/>
            <ac:spMk id="3" creationId="{FABDCF80-53A2-DEF6-C2D7-53E9EF8BBF0D}"/>
          </ac:spMkLst>
        </pc:spChg>
        <pc:spChg chg="mod">
          <ac:chgData name="Asher Curtis" userId="494c4f5b-6d11-415a-9d9e-829c1135aa91" providerId="ADAL" clId="{769083BD-FBA8-48DF-9C04-5EA797058F10}" dt="2025-04-01T19:50:46.825" v="1029" actId="20577"/>
          <ac:spMkLst>
            <pc:docMk/>
            <pc:sldMk cId="3994724605" sldId="2147481760"/>
            <ac:spMk id="7" creationId="{794C64AB-6090-BBEB-9FA4-2DC81621F1B9}"/>
          </ac:spMkLst>
        </pc:spChg>
        <pc:spChg chg="mod">
          <ac:chgData name="Asher Curtis" userId="494c4f5b-6d11-415a-9d9e-829c1135aa91" providerId="ADAL" clId="{769083BD-FBA8-48DF-9C04-5EA797058F10}" dt="2025-04-01T19:54:17.738" v="1532" actId="20577"/>
          <ac:spMkLst>
            <pc:docMk/>
            <pc:sldMk cId="3994724605" sldId="2147481760"/>
            <ac:spMk id="8" creationId="{1A9D3178-A182-47B2-9A51-D09769B43E28}"/>
          </ac:spMkLst>
        </pc:spChg>
      </pc:sldChg>
      <pc:sldChg chg="modSp add mod">
        <pc:chgData name="Asher Curtis" userId="494c4f5b-6d11-415a-9d9e-829c1135aa91" providerId="ADAL" clId="{769083BD-FBA8-48DF-9C04-5EA797058F10}" dt="2025-04-01T19:35:09.965" v="393" actId="20577"/>
        <pc:sldMkLst>
          <pc:docMk/>
          <pc:sldMk cId="319023622" sldId="2147481761"/>
        </pc:sldMkLst>
        <pc:spChg chg="mod">
          <ac:chgData name="Asher Curtis" userId="494c4f5b-6d11-415a-9d9e-829c1135aa91" providerId="ADAL" clId="{769083BD-FBA8-48DF-9C04-5EA797058F10}" dt="2025-04-01T19:35:05.040" v="384" actId="20577"/>
          <ac:spMkLst>
            <pc:docMk/>
            <pc:sldMk cId="319023622" sldId="2147481761"/>
            <ac:spMk id="7" creationId="{ADA8112E-8038-6C3B-3A55-7C4D225B85F7}"/>
          </ac:spMkLst>
        </pc:spChg>
        <pc:spChg chg="mod">
          <ac:chgData name="Asher Curtis" userId="494c4f5b-6d11-415a-9d9e-829c1135aa91" providerId="ADAL" clId="{769083BD-FBA8-48DF-9C04-5EA797058F10}" dt="2025-04-01T19:35:09.965" v="393" actId="20577"/>
          <ac:spMkLst>
            <pc:docMk/>
            <pc:sldMk cId="319023622" sldId="2147481761"/>
            <ac:spMk id="8" creationId="{FD0F02D7-669D-775C-F1F2-50175176685E}"/>
          </ac:spMkLst>
        </pc:spChg>
      </pc:sldChg>
      <pc:sldChg chg="modSp add del mod ord">
        <pc:chgData name="Asher Curtis" userId="494c4f5b-6d11-415a-9d9e-829c1135aa91" providerId="ADAL" clId="{769083BD-FBA8-48DF-9C04-5EA797058F10}" dt="2025-04-01T19:47:34.844" v="905" actId="47"/>
        <pc:sldMkLst>
          <pc:docMk/>
          <pc:sldMk cId="3105623781" sldId="2147481762"/>
        </pc:sldMkLst>
        <pc:spChg chg="mod">
          <ac:chgData name="Asher Curtis" userId="494c4f5b-6d11-415a-9d9e-829c1135aa91" providerId="ADAL" clId="{769083BD-FBA8-48DF-9C04-5EA797058F10}" dt="2025-04-01T19:17:58.077" v="203" actId="404"/>
          <ac:spMkLst>
            <pc:docMk/>
            <pc:sldMk cId="3105623781" sldId="2147481762"/>
            <ac:spMk id="2" creationId="{C42DBA23-F647-8839-3049-B55D830FD548}"/>
          </ac:spMkLst>
        </pc:spChg>
        <pc:spChg chg="mod">
          <ac:chgData name="Asher Curtis" userId="494c4f5b-6d11-415a-9d9e-829c1135aa91" providerId="ADAL" clId="{769083BD-FBA8-48DF-9C04-5EA797058F10}" dt="2025-04-01T19:18:56.701" v="223" actId="6549"/>
          <ac:spMkLst>
            <pc:docMk/>
            <pc:sldMk cId="3105623781" sldId="2147481762"/>
            <ac:spMk id="4" creationId="{EA1D54C3-EE67-CD6B-A9D5-69D5D4DCB7B6}"/>
          </ac:spMkLst>
        </pc:spChg>
      </pc:sldChg>
      <pc:sldChg chg="add del ord">
        <pc:chgData name="Asher Curtis" userId="494c4f5b-6d11-415a-9d9e-829c1135aa91" providerId="ADAL" clId="{769083BD-FBA8-48DF-9C04-5EA797058F10}" dt="2025-04-01T19:23:31.754" v="271" actId="47"/>
        <pc:sldMkLst>
          <pc:docMk/>
          <pc:sldMk cId="2420082417" sldId="2147481763"/>
        </pc:sldMkLst>
      </pc:sldChg>
      <pc:sldChg chg="modSp add del mod">
        <pc:chgData name="Asher Curtis" userId="494c4f5b-6d11-415a-9d9e-829c1135aa91" providerId="ADAL" clId="{769083BD-FBA8-48DF-9C04-5EA797058F10}" dt="2025-04-01T19:19:21.274" v="230" actId="47"/>
        <pc:sldMkLst>
          <pc:docMk/>
          <pc:sldMk cId="2759217354" sldId="2147481763"/>
        </pc:sldMkLst>
        <pc:spChg chg="mod">
          <ac:chgData name="Asher Curtis" userId="494c4f5b-6d11-415a-9d9e-829c1135aa91" providerId="ADAL" clId="{769083BD-FBA8-48DF-9C04-5EA797058F10}" dt="2025-04-01T19:19:17.655" v="229" actId="20577"/>
          <ac:spMkLst>
            <pc:docMk/>
            <pc:sldMk cId="2759217354" sldId="2147481763"/>
            <ac:spMk id="4" creationId="{8819BAC6-8682-AC02-7D34-DE3827C5655D}"/>
          </ac:spMkLst>
        </pc:spChg>
      </pc:sldChg>
      <pc:sldChg chg="add del">
        <pc:chgData name="Asher Curtis" userId="494c4f5b-6d11-415a-9d9e-829c1135aa91" providerId="ADAL" clId="{769083BD-FBA8-48DF-9C04-5EA797058F10}" dt="2025-04-01T19:23:26.179" v="268" actId="47"/>
        <pc:sldMkLst>
          <pc:docMk/>
          <pc:sldMk cId="3311813722" sldId="2147481764"/>
        </pc:sldMkLst>
      </pc:sldChg>
      <pc:sldChg chg="modSp add mod">
        <pc:chgData name="Asher Curtis" userId="494c4f5b-6d11-415a-9d9e-829c1135aa91" providerId="ADAL" clId="{769083BD-FBA8-48DF-9C04-5EA797058F10}" dt="2025-04-01T19:24:27.965" v="282" actId="207"/>
        <pc:sldMkLst>
          <pc:docMk/>
          <pc:sldMk cId="3105321403" sldId="2147481765"/>
        </pc:sldMkLst>
        <pc:spChg chg="mod">
          <ac:chgData name="Asher Curtis" userId="494c4f5b-6d11-415a-9d9e-829c1135aa91" providerId="ADAL" clId="{769083BD-FBA8-48DF-9C04-5EA797058F10}" dt="2025-04-01T19:23:08.214" v="261" actId="1076"/>
          <ac:spMkLst>
            <pc:docMk/>
            <pc:sldMk cId="3105321403" sldId="2147481765"/>
            <ac:spMk id="3" creationId="{FB166EA6-6DBB-3615-C04E-C0D22CE9E108}"/>
          </ac:spMkLst>
        </pc:spChg>
        <pc:spChg chg="mod">
          <ac:chgData name="Asher Curtis" userId="494c4f5b-6d11-415a-9d9e-829c1135aa91" providerId="ADAL" clId="{769083BD-FBA8-48DF-9C04-5EA797058F10}" dt="2025-04-01T19:24:27.965" v="282" actId="207"/>
          <ac:spMkLst>
            <pc:docMk/>
            <pc:sldMk cId="3105321403" sldId="2147481765"/>
            <ac:spMk id="4" creationId="{28DD9191-6760-DEC9-89AA-A504181DBEB9}"/>
          </ac:spMkLst>
        </pc:spChg>
      </pc:sldChg>
      <pc:sldChg chg="modSp add mod ord">
        <pc:chgData name="Asher Curtis" userId="494c4f5b-6d11-415a-9d9e-829c1135aa91" providerId="ADAL" clId="{769083BD-FBA8-48DF-9C04-5EA797058F10}" dt="2025-04-01T19:24:10.927" v="279" actId="113"/>
        <pc:sldMkLst>
          <pc:docMk/>
          <pc:sldMk cId="3288220185" sldId="2147481766"/>
        </pc:sldMkLst>
        <pc:spChg chg="mod">
          <ac:chgData name="Asher Curtis" userId="494c4f5b-6d11-415a-9d9e-829c1135aa91" providerId="ADAL" clId="{769083BD-FBA8-48DF-9C04-5EA797058F10}" dt="2025-04-01T19:24:10.927" v="279" actId="113"/>
          <ac:spMkLst>
            <pc:docMk/>
            <pc:sldMk cId="3288220185" sldId="2147481766"/>
            <ac:spMk id="4" creationId="{304F60EA-8D73-99C5-1134-999ED07D5280}"/>
          </ac:spMkLst>
        </pc:spChg>
      </pc:sldChg>
      <pc:sldChg chg="modSp add mod ord">
        <pc:chgData name="Asher Curtis" userId="494c4f5b-6d11-415a-9d9e-829c1135aa91" providerId="ADAL" clId="{769083BD-FBA8-48DF-9C04-5EA797058F10}" dt="2025-04-01T19:24:02.190" v="277" actId="113"/>
        <pc:sldMkLst>
          <pc:docMk/>
          <pc:sldMk cId="4291743077" sldId="2147481767"/>
        </pc:sldMkLst>
        <pc:spChg chg="mod">
          <ac:chgData name="Asher Curtis" userId="494c4f5b-6d11-415a-9d9e-829c1135aa91" providerId="ADAL" clId="{769083BD-FBA8-48DF-9C04-5EA797058F10}" dt="2025-04-01T19:24:02.190" v="277" actId="113"/>
          <ac:spMkLst>
            <pc:docMk/>
            <pc:sldMk cId="4291743077" sldId="2147481767"/>
            <ac:spMk id="4" creationId="{B55B66F3-1918-E09E-A84B-753183E9DC62}"/>
          </ac:spMkLst>
        </pc:spChg>
      </pc:sldChg>
      <pc:sldChg chg="modSp add mod ord">
        <pc:chgData name="Asher Curtis" userId="494c4f5b-6d11-415a-9d9e-829c1135aa91" providerId="ADAL" clId="{769083BD-FBA8-48DF-9C04-5EA797058F10}" dt="2025-04-01T19:23:45.593" v="275" actId="113"/>
        <pc:sldMkLst>
          <pc:docMk/>
          <pc:sldMk cId="2079802043" sldId="2147481768"/>
        </pc:sldMkLst>
        <pc:spChg chg="mod">
          <ac:chgData name="Asher Curtis" userId="494c4f5b-6d11-415a-9d9e-829c1135aa91" providerId="ADAL" clId="{769083BD-FBA8-48DF-9C04-5EA797058F10}" dt="2025-04-01T19:23:45.593" v="275" actId="113"/>
          <ac:spMkLst>
            <pc:docMk/>
            <pc:sldMk cId="2079802043" sldId="2147481768"/>
            <ac:spMk id="4" creationId="{57594B7F-5D66-336D-71CC-B36236C7E124}"/>
          </ac:spMkLst>
        </pc:spChg>
      </pc:sldChg>
      <pc:sldChg chg="modSp new mod">
        <pc:chgData name="Asher Curtis" userId="494c4f5b-6d11-415a-9d9e-829c1135aa91" providerId="ADAL" clId="{769083BD-FBA8-48DF-9C04-5EA797058F10}" dt="2025-04-01T19:40:16.047" v="528" actId="20577"/>
        <pc:sldMkLst>
          <pc:docMk/>
          <pc:sldMk cId="2026947720" sldId="2147481769"/>
        </pc:sldMkLst>
        <pc:spChg chg="mod">
          <ac:chgData name="Asher Curtis" userId="494c4f5b-6d11-415a-9d9e-829c1135aa91" providerId="ADAL" clId="{769083BD-FBA8-48DF-9C04-5EA797058F10}" dt="2025-04-01T19:40:16.047" v="528" actId="20577"/>
          <ac:spMkLst>
            <pc:docMk/>
            <pc:sldMk cId="2026947720" sldId="2147481769"/>
            <ac:spMk id="2" creationId="{D38CBBBB-1D2B-58CF-5D2F-5B971D2364E6}"/>
          </ac:spMkLst>
        </pc:spChg>
        <pc:spChg chg="mod">
          <ac:chgData name="Asher Curtis" userId="494c4f5b-6d11-415a-9d9e-829c1135aa91" providerId="ADAL" clId="{769083BD-FBA8-48DF-9C04-5EA797058F10}" dt="2025-04-01T19:33:04.353" v="359" actId="20577"/>
          <ac:spMkLst>
            <pc:docMk/>
            <pc:sldMk cId="2026947720" sldId="2147481769"/>
            <ac:spMk id="3" creationId="{295520FB-8036-2DD7-E85C-6C467B3BBD79}"/>
          </ac:spMkLst>
        </pc:spChg>
      </pc:sldChg>
      <pc:sldChg chg="add del">
        <pc:chgData name="Asher Curtis" userId="494c4f5b-6d11-415a-9d9e-829c1135aa91" providerId="ADAL" clId="{769083BD-FBA8-48DF-9C04-5EA797058F10}" dt="2025-04-01T19:24:17.303" v="280" actId="47"/>
        <pc:sldMkLst>
          <pc:docMk/>
          <pc:sldMk cId="3800283820" sldId="2147481769"/>
        </pc:sldMkLst>
      </pc:sldChg>
      <pc:sldChg chg="addSp delSp modSp new mod">
        <pc:chgData name="Asher Curtis" userId="494c4f5b-6d11-415a-9d9e-829c1135aa91" providerId="ADAL" clId="{769083BD-FBA8-48DF-9C04-5EA797058F10}" dt="2025-04-01T19:33:57.078" v="373" actId="1076"/>
        <pc:sldMkLst>
          <pc:docMk/>
          <pc:sldMk cId="3026168075" sldId="2147481770"/>
        </pc:sldMkLst>
        <pc:spChg chg="del">
          <ac:chgData name="Asher Curtis" userId="494c4f5b-6d11-415a-9d9e-829c1135aa91" providerId="ADAL" clId="{769083BD-FBA8-48DF-9C04-5EA797058F10}" dt="2025-04-01T19:33:52.328" v="372" actId="478"/>
          <ac:spMkLst>
            <pc:docMk/>
            <pc:sldMk cId="3026168075" sldId="2147481770"/>
            <ac:spMk id="2" creationId="{E4C779B9-6962-A587-C11C-42C0715F6E48}"/>
          </ac:spMkLst>
        </pc:spChg>
        <pc:spChg chg="mod">
          <ac:chgData name="Asher Curtis" userId="494c4f5b-6d11-415a-9d9e-829c1135aa91" providerId="ADAL" clId="{769083BD-FBA8-48DF-9C04-5EA797058F10}" dt="2025-04-01T19:33:49.548" v="371" actId="20577"/>
          <ac:spMkLst>
            <pc:docMk/>
            <pc:sldMk cId="3026168075" sldId="2147481770"/>
            <ac:spMk id="3" creationId="{B90C5E78-E922-EEE9-1BC3-C0EF6691B25A}"/>
          </ac:spMkLst>
        </pc:spChg>
        <pc:picChg chg="add mod">
          <ac:chgData name="Asher Curtis" userId="494c4f5b-6d11-415a-9d9e-829c1135aa91" providerId="ADAL" clId="{769083BD-FBA8-48DF-9C04-5EA797058F10}" dt="2025-04-01T19:33:57.078" v="373" actId="1076"/>
          <ac:picMkLst>
            <pc:docMk/>
            <pc:sldMk cId="3026168075" sldId="2147481770"/>
            <ac:picMk id="5" creationId="{06829763-0067-FAFE-CF17-7CEC2083D3E6}"/>
          </ac:picMkLst>
        </pc:picChg>
      </pc:sldChg>
      <pc:sldChg chg="new del">
        <pc:chgData name="Asher Curtis" userId="494c4f5b-6d11-415a-9d9e-829c1135aa91" providerId="ADAL" clId="{769083BD-FBA8-48DF-9C04-5EA797058F10}" dt="2025-04-01T19:55:29.173" v="1572" actId="47"/>
        <pc:sldMkLst>
          <pc:docMk/>
          <pc:sldMk cId="3784003976" sldId="2147481771"/>
        </pc:sldMkLst>
      </pc:sldChg>
      <pc:sldChg chg="modSp new mod">
        <pc:chgData name="Asher Curtis" userId="494c4f5b-6d11-415a-9d9e-829c1135aa91" providerId="ADAL" clId="{769083BD-FBA8-48DF-9C04-5EA797058F10}" dt="2025-04-01T19:37:54.472" v="500" actId="20577"/>
        <pc:sldMkLst>
          <pc:docMk/>
          <pc:sldMk cId="1572938354" sldId="2147481772"/>
        </pc:sldMkLst>
        <pc:spChg chg="mod">
          <ac:chgData name="Asher Curtis" userId="494c4f5b-6d11-415a-9d9e-829c1135aa91" providerId="ADAL" clId="{769083BD-FBA8-48DF-9C04-5EA797058F10}" dt="2025-04-01T19:37:46.917" v="486" actId="113"/>
          <ac:spMkLst>
            <pc:docMk/>
            <pc:sldMk cId="1572938354" sldId="2147481772"/>
            <ac:spMk id="2" creationId="{394BD599-C85A-9EB9-563C-F6E46DEF03E8}"/>
          </ac:spMkLst>
        </pc:spChg>
        <pc:spChg chg="mod">
          <ac:chgData name="Asher Curtis" userId="494c4f5b-6d11-415a-9d9e-829c1135aa91" providerId="ADAL" clId="{769083BD-FBA8-48DF-9C04-5EA797058F10}" dt="2025-04-01T19:37:54.472" v="500" actId="20577"/>
          <ac:spMkLst>
            <pc:docMk/>
            <pc:sldMk cId="1572938354" sldId="2147481772"/>
            <ac:spMk id="3" creationId="{37E1C20F-877C-698F-8067-4BEBC7FF7DFC}"/>
          </ac:spMkLst>
        </pc:spChg>
      </pc:sldChg>
      <pc:sldChg chg="new del">
        <pc:chgData name="Asher Curtis" userId="494c4f5b-6d11-415a-9d9e-829c1135aa91" providerId="ADAL" clId="{769083BD-FBA8-48DF-9C04-5EA797058F10}" dt="2025-04-01T19:55:28.011" v="1571" actId="47"/>
        <pc:sldMkLst>
          <pc:docMk/>
          <pc:sldMk cId="543597363" sldId="2147481773"/>
        </pc:sldMkLst>
      </pc:sldChg>
      <pc:sldChg chg="addSp delSp modSp new mod">
        <pc:chgData name="Asher Curtis" userId="494c4f5b-6d11-415a-9d9e-829c1135aa91" providerId="ADAL" clId="{769083BD-FBA8-48DF-9C04-5EA797058F10}" dt="2025-04-01T19:46:07.148" v="904" actId="403"/>
        <pc:sldMkLst>
          <pc:docMk/>
          <pc:sldMk cId="377139247" sldId="2147481774"/>
        </pc:sldMkLst>
        <pc:spChg chg="add del mod">
          <ac:chgData name="Asher Curtis" userId="494c4f5b-6d11-415a-9d9e-829c1135aa91" providerId="ADAL" clId="{769083BD-FBA8-48DF-9C04-5EA797058F10}" dt="2025-04-01T19:46:07.148" v="904" actId="403"/>
          <ac:spMkLst>
            <pc:docMk/>
            <pc:sldMk cId="377139247" sldId="2147481774"/>
            <ac:spMk id="2" creationId="{42123C9D-E12D-547F-0042-917AD039C113}"/>
          </ac:spMkLst>
        </pc:spChg>
        <pc:spChg chg="mod">
          <ac:chgData name="Asher Curtis" userId="494c4f5b-6d11-415a-9d9e-829c1135aa91" providerId="ADAL" clId="{769083BD-FBA8-48DF-9C04-5EA797058F10}" dt="2025-04-01T19:42:43.126" v="565" actId="20577"/>
          <ac:spMkLst>
            <pc:docMk/>
            <pc:sldMk cId="377139247" sldId="2147481774"/>
            <ac:spMk id="3" creationId="{A1E13114-1817-C4FE-1FB3-98FA4350C15D}"/>
          </ac:spMkLst>
        </pc:spChg>
        <pc:picChg chg="add mod">
          <ac:chgData name="Asher Curtis" userId="494c4f5b-6d11-415a-9d9e-829c1135aa91" providerId="ADAL" clId="{769083BD-FBA8-48DF-9C04-5EA797058F10}" dt="2025-04-01T19:45:04.269" v="815" actId="14100"/>
          <ac:picMkLst>
            <pc:docMk/>
            <pc:sldMk cId="377139247" sldId="2147481774"/>
            <ac:picMk id="5" creationId="{25A9DC2E-A923-D659-5A6A-3A80212D8EDF}"/>
          </ac:picMkLst>
        </pc:picChg>
      </pc:sldChg>
      <pc:sldChg chg="addSp delSp modSp new mod">
        <pc:chgData name="Asher Curtis" userId="494c4f5b-6d11-415a-9d9e-829c1135aa91" providerId="ADAL" clId="{769083BD-FBA8-48DF-9C04-5EA797058F10}" dt="2025-04-01T19:54:47.647" v="1570" actId="6549"/>
        <pc:sldMkLst>
          <pc:docMk/>
          <pc:sldMk cId="4002736335" sldId="2147481775"/>
        </pc:sldMkLst>
        <pc:spChg chg="del">
          <ac:chgData name="Asher Curtis" userId="494c4f5b-6d11-415a-9d9e-829c1135aa91" providerId="ADAL" clId="{769083BD-FBA8-48DF-9C04-5EA797058F10}" dt="2025-04-01T19:47:43.298" v="907"/>
          <ac:spMkLst>
            <pc:docMk/>
            <pc:sldMk cId="4002736335" sldId="2147481775"/>
            <ac:spMk id="2" creationId="{369AE64E-9C30-8594-C88C-F718CF76E41F}"/>
          </ac:spMkLst>
        </pc:spChg>
        <pc:spChg chg="mod">
          <ac:chgData name="Asher Curtis" userId="494c4f5b-6d11-415a-9d9e-829c1135aa91" providerId="ADAL" clId="{769083BD-FBA8-48DF-9C04-5EA797058F10}" dt="2025-04-01T19:54:47.647" v="1570" actId="6549"/>
          <ac:spMkLst>
            <pc:docMk/>
            <pc:sldMk cId="4002736335" sldId="2147481775"/>
            <ac:spMk id="3" creationId="{C2E898D2-789E-E9D3-1CDA-6E0205649F60}"/>
          </ac:spMkLst>
        </pc:spChg>
        <pc:spChg chg="add del mod">
          <ac:chgData name="Asher Curtis" userId="494c4f5b-6d11-415a-9d9e-829c1135aa91" providerId="ADAL" clId="{769083BD-FBA8-48DF-9C04-5EA797058F10}" dt="2025-04-01T19:48:17.407" v="939"/>
          <ac:spMkLst>
            <pc:docMk/>
            <pc:sldMk cId="4002736335" sldId="2147481775"/>
            <ac:spMk id="6" creationId="{FE6E0187-8B4C-18B4-D15D-035805F33296}"/>
          </ac:spMkLst>
        </pc:spChg>
        <pc:picChg chg="add mod">
          <ac:chgData name="Asher Curtis" userId="494c4f5b-6d11-415a-9d9e-829c1135aa91" providerId="ADAL" clId="{769083BD-FBA8-48DF-9C04-5EA797058F10}" dt="2025-04-01T19:47:48.930" v="911" actId="1076"/>
          <ac:picMkLst>
            <pc:docMk/>
            <pc:sldMk cId="4002736335" sldId="2147481775"/>
            <ac:picMk id="5" creationId="{1BA843EC-BBE6-BED3-A558-C94ACE0D68AD}"/>
          </ac:picMkLst>
        </pc:picChg>
      </pc:sldChg>
      <pc:sldChg chg="add">
        <pc:chgData name="Asher Curtis" userId="494c4f5b-6d11-415a-9d9e-829c1135aa91" providerId="ADAL" clId="{769083BD-FBA8-48DF-9C04-5EA797058F10}" dt="2025-04-01T19:50:28.522" v="990" actId="2890"/>
        <pc:sldMkLst>
          <pc:docMk/>
          <pc:sldMk cId="2583444062" sldId="2147481776"/>
        </pc:sldMkLst>
      </pc:sldChg>
      <pc:sldMasterChg chg="delSldLayout">
        <pc:chgData name="Asher Curtis" userId="494c4f5b-6d11-415a-9d9e-829c1135aa91" providerId="ADAL" clId="{769083BD-FBA8-48DF-9C04-5EA797058F10}" dt="2025-04-01T19:47:34.844" v="905" actId="47"/>
        <pc:sldMasterMkLst>
          <pc:docMk/>
          <pc:sldMasterMk cId="2645417324" sldId="2147483660"/>
        </pc:sldMasterMkLst>
        <pc:sldLayoutChg chg="del">
          <pc:chgData name="Asher Curtis" userId="494c4f5b-6d11-415a-9d9e-829c1135aa91" providerId="ADAL" clId="{769083BD-FBA8-48DF-9C04-5EA797058F10}" dt="2025-04-01T19:47:34.844" v="905" actId="47"/>
          <pc:sldLayoutMkLst>
            <pc:docMk/>
            <pc:sldMasterMk cId="2645417324" sldId="2147483660"/>
            <pc:sldLayoutMk cId="1234619651" sldId="2147483884"/>
          </pc:sldLayoutMkLst>
        </pc:sldLayoutChg>
      </pc:sldMasterChg>
      <pc:sldMasterChg chg="del delSldLayout">
        <pc:chgData name="Asher Curtis" userId="494c4f5b-6d11-415a-9d9e-829c1135aa91" providerId="ADAL" clId="{769083BD-FBA8-48DF-9C04-5EA797058F10}" dt="2025-04-01T19:19:24.298" v="231" actId="47"/>
        <pc:sldMasterMkLst>
          <pc:docMk/>
          <pc:sldMasterMk cId="4000084985" sldId="2147483678"/>
        </pc:sldMasterMkLst>
        <pc:sldLayoutChg chg="del">
          <pc:chgData name="Asher Curtis" userId="494c4f5b-6d11-415a-9d9e-829c1135aa91" providerId="ADAL" clId="{769083BD-FBA8-48DF-9C04-5EA797058F10}" dt="2025-04-01T19:19:24.298" v="231" actId="47"/>
          <pc:sldLayoutMkLst>
            <pc:docMk/>
            <pc:sldMasterMk cId="4000084985" sldId="2147483678"/>
            <pc:sldLayoutMk cId="1408600039" sldId="2147483679"/>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3817148101" sldId="2147483680"/>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167225541" sldId="2147483681"/>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3046111588" sldId="2147483682"/>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678101181" sldId="2147483683"/>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2008400098" sldId="2147483684"/>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513000950" sldId="2147483685"/>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2692432373" sldId="2147483686"/>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785608201" sldId="2147483687"/>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1989317087" sldId="2147483688"/>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3053658066" sldId="2147483689"/>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2976446953" sldId="2147483690"/>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2978523828" sldId="2147483691"/>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57284295" sldId="2147483692"/>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3487094038" sldId="2147483693"/>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1011910316" sldId="2147483694"/>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4260904520" sldId="2147483695"/>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3985925696" sldId="2147483696"/>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477927512" sldId="2147483697"/>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4033166927" sldId="2147483698"/>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312556381" sldId="2147483699"/>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3122156582" sldId="2147483700"/>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2032757238" sldId="2147483701"/>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3732599579" sldId="2147483702"/>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1896054273" sldId="2147483703"/>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3566253464" sldId="2147483704"/>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1579047087" sldId="2147483705"/>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3870876300" sldId="2147483706"/>
          </pc:sldLayoutMkLst>
        </pc:sldLayoutChg>
        <pc:sldLayoutChg chg="del">
          <pc:chgData name="Asher Curtis" userId="494c4f5b-6d11-415a-9d9e-829c1135aa91" providerId="ADAL" clId="{769083BD-FBA8-48DF-9C04-5EA797058F10}" dt="2025-04-01T19:19:24.298" v="231" actId="47"/>
          <pc:sldLayoutMkLst>
            <pc:docMk/>
            <pc:sldMasterMk cId="4000084985" sldId="2147483678"/>
            <pc:sldLayoutMk cId="532564370" sldId="2147483707"/>
          </pc:sldLayoutMkLst>
        </pc:sldLayoutChg>
        <pc:sldLayoutChg chg="del">
          <pc:chgData name="Asher Curtis" userId="494c4f5b-6d11-415a-9d9e-829c1135aa91" providerId="ADAL" clId="{769083BD-FBA8-48DF-9C04-5EA797058F10}" dt="2025-04-01T19:16:00.491" v="180" actId="47"/>
          <pc:sldLayoutMkLst>
            <pc:docMk/>
            <pc:sldMasterMk cId="4000084985" sldId="2147483678"/>
            <pc:sldLayoutMk cId="497835294" sldId="2147483708"/>
          </pc:sldLayoutMkLst>
        </pc:sldLayoutChg>
      </pc:sldMasterChg>
      <pc:sldMasterChg chg="delSldLayout">
        <pc:chgData name="Asher Curtis" userId="494c4f5b-6d11-415a-9d9e-829c1135aa91" providerId="ADAL" clId="{769083BD-FBA8-48DF-9C04-5EA797058F10}" dt="2025-04-01T19:19:40.156" v="232" actId="47"/>
        <pc:sldMasterMkLst>
          <pc:docMk/>
          <pc:sldMasterMk cId="1389984524" sldId="2147483709"/>
        </pc:sldMasterMkLst>
        <pc:sldLayoutChg chg="del">
          <pc:chgData name="Asher Curtis" userId="494c4f5b-6d11-415a-9d9e-829c1135aa91" providerId="ADAL" clId="{769083BD-FBA8-48DF-9C04-5EA797058F10}" dt="2025-04-01T19:19:40.156" v="232" actId="47"/>
          <pc:sldLayoutMkLst>
            <pc:docMk/>
            <pc:sldMasterMk cId="1389984524" sldId="2147483709"/>
            <pc:sldLayoutMk cId="3548596630" sldId="2147483730"/>
          </pc:sldLayoutMkLst>
        </pc:sldLayoutChg>
        <pc:sldLayoutChg chg="del">
          <pc:chgData name="Asher Curtis" userId="494c4f5b-6d11-415a-9d9e-829c1135aa91" providerId="ADAL" clId="{769083BD-FBA8-48DF-9C04-5EA797058F10}" dt="2025-04-01T19:19:40.156" v="232" actId="47"/>
          <pc:sldLayoutMkLst>
            <pc:docMk/>
            <pc:sldMasterMk cId="1389984524" sldId="2147483709"/>
            <pc:sldLayoutMk cId="2211192895" sldId="2147483743"/>
          </pc:sldLayoutMkLst>
        </pc:sldLayoutChg>
        <pc:sldLayoutChg chg="del">
          <pc:chgData name="Asher Curtis" userId="494c4f5b-6d11-415a-9d9e-829c1135aa91" providerId="ADAL" clId="{769083BD-FBA8-48DF-9C04-5EA797058F10}" dt="2025-04-01T19:19:40.156" v="232" actId="47"/>
          <pc:sldLayoutMkLst>
            <pc:docMk/>
            <pc:sldMasterMk cId="1389984524" sldId="2147483709"/>
            <pc:sldLayoutMk cId="2038808994" sldId="2147483848"/>
          </pc:sldLayoutMkLst>
        </pc:sldLayoutChg>
        <pc:sldLayoutChg chg="del">
          <pc:chgData name="Asher Curtis" userId="494c4f5b-6d11-415a-9d9e-829c1135aa91" providerId="ADAL" clId="{769083BD-FBA8-48DF-9C04-5EA797058F10}" dt="2025-04-01T19:19:40.156" v="232" actId="47"/>
          <pc:sldLayoutMkLst>
            <pc:docMk/>
            <pc:sldMasterMk cId="1389984524" sldId="2147483709"/>
            <pc:sldLayoutMk cId="2123974523" sldId="2147483849"/>
          </pc:sldLayoutMkLst>
        </pc:sldLayoutChg>
        <pc:sldLayoutChg chg="del">
          <pc:chgData name="Asher Curtis" userId="494c4f5b-6d11-415a-9d9e-829c1135aa91" providerId="ADAL" clId="{769083BD-FBA8-48DF-9C04-5EA797058F10}" dt="2025-04-01T19:19:40.156" v="232" actId="47"/>
          <pc:sldLayoutMkLst>
            <pc:docMk/>
            <pc:sldMasterMk cId="1389984524" sldId="2147483709"/>
            <pc:sldLayoutMk cId="3010912423" sldId="2147483850"/>
          </pc:sldLayoutMkLst>
        </pc:sldLayoutChg>
      </pc:sldMasterChg>
      <pc:sldMasterChg chg="delSldLayout">
        <pc:chgData name="Asher Curtis" userId="494c4f5b-6d11-415a-9d9e-829c1135aa91" providerId="ADAL" clId="{769083BD-FBA8-48DF-9C04-5EA797058F10}" dt="2025-04-01T19:19:40.156" v="232" actId="47"/>
        <pc:sldMasterMkLst>
          <pc:docMk/>
          <pc:sldMasterMk cId="915471213" sldId="2147483744"/>
        </pc:sldMasterMkLst>
        <pc:sldLayoutChg chg="del">
          <pc:chgData name="Asher Curtis" userId="494c4f5b-6d11-415a-9d9e-829c1135aa91" providerId="ADAL" clId="{769083BD-FBA8-48DF-9C04-5EA797058F10}" dt="2025-04-01T19:19:40.156" v="232" actId="47"/>
          <pc:sldLayoutMkLst>
            <pc:docMk/>
            <pc:sldMasterMk cId="915471213" sldId="2147483744"/>
            <pc:sldLayoutMk cId="3571039267" sldId="2147483761"/>
          </pc:sldLayoutMkLst>
        </pc:sldLayoutChg>
        <pc:sldLayoutChg chg="del">
          <pc:chgData name="Asher Curtis" userId="494c4f5b-6d11-415a-9d9e-829c1135aa91" providerId="ADAL" clId="{769083BD-FBA8-48DF-9C04-5EA797058F10}" dt="2025-04-01T19:19:40.156" v="232" actId="47"/>
          <pc:sldLayoutMkLst>
            <pc:docMk/>
            <pc:sldMasterMk cId="915471213" sldId="2147483744"/>
            <pc:sldLayoutMk cId="3417305034" sldId="2147483768"/>
          </pc:sldLayoutMkLst>
        </pc:sldLayoutChg>
      </pc:sldMasterChg>
      <pc:sldMasterChg chg="del delSldLayout">
        <pc:chgData name="Asher Curtis" userId="494c4f5b-6d11-415a-9d9e-829c1135aa91" providerId="ADAL" clId="{769083BD-FBA8-48DF-9C04-5EA797058F10}" dt="2025-04-01T19:19:40.156" v="232" actId="47"/>
        <pc:sldMasterMkLst>
          <pc:docMk/>
          <pc:sldMasterMk cId="1700798170" sldId="2147483769"/>
        </pc:sldMasterMkLst>
        <pc:sldLayoutChg chg="del">
          <pc:chgData name="Asher Curtis" userId="494c4f5b-6d11-415a-9d9e-829c1135aa91" providerId="ADAL" clId="{769083BD-FBA8-48DF-9C04-5EA797058F10}" dt="2025-04-01T19:19:40.156" v="232" actId="47"/>
          <pc:sldLayoutMkLst>
            <pc:docMk/>
            <pc:sldMasterMk cId="1700798170" sldId="2147483769"/>
            <pc:sldLayoutMk cId="2696793612" sldId="2147483770"/>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2683880188" sldId="2147483771"/>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3807020346" sldId="2147483772"/>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3326268187" sldId="2147483773"/>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3332547174" sldId="2147483774"/>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1194058087" sldId="2147483775"/>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596827588" sldId="2147483776"/>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4068497693" sldId="2147483777"/>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259809467" sldId="2147483778"/>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2999147975" sldId="2147483779"/>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4072925852" sldId="2147483780"/>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2015575545" sldId="2147483781"/>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2098346442" sldId="2147483782"/>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1932652531" sldId="2147483783"/>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980004995" sldId="2147483784"/>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2026986629" sldId="2147483785"/>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1065496655" sldId="2147483786"/>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1328784788" sldId="2147483787"/>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4093273149" sldId="2147483788"/>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1116449390" sldId="2147483789"/>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3699856179" sldId="2147483790"/>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1775033005" sldId="2147483791"/>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815072855" sldId="2147483792"/>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939355113" sldId="2147483793"/>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579875782" sldId="2147483794"/>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2939929546" sldId="2147483795"/>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185705272" sldId="2147483796"/>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567456764" sldId="2147483797"/>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4124598068" sldId="2147483798"/>
          </pc:sldLayoutMkLst>
        </pc:sldLayoutChg>
        <pc:sldLayoutChg chg="del">
          <pc:chgData name="Asher Curtis" userId="494c4f5b-6d11-415a-9d9e-829c1135aa91" providerId="ADAL" clId="{769083BD-FBA8-48DF-9C04-5EA797058F10}" dt="2025-04-01T19:19:40.156" v="232" actId="47"/>
          <pc:sldLayoutMkLst>
            <pc:docMk/>
            <pc:sldMasterMk cId="1700798170" sldId="2147483769"/>
            <pc:sldLayoutMk cId="2537863356" sldId="2147483799"/>
          </pc:sldLayoutMkLst>
        </pc:sldLayoutChg>
      </pc:sldMasterChg>
      <pc:sldMasterChg chg="del delSldLayout">
        <pc:chgData name="Asher Curtis" userId="494c4f5b-6d11-415a-9d9e-829c1135aa91" providerId="ADAL" clId="{769083BD-FBA8-48DF-9C04-5EA797058F10}" dt="2025-04-01T19:19:40.156" v="232" actId="47"/>
        <pc:sldMasterMkLst>
          <pc:docMk/>
          <pc:sldMasterMk cId="1699163094" sldId="2147483800"/>
        </pc:sldMasterMkLst>
        <pc:sldLayoutChg chg="del">
          <pc:chgData name="Asher Curtis" userId="494c4f5b-6d11-415a-9d9e-829c1135aa91" providerId="ADAL" clId="{769083BD-FBA8-48DF-9C04-5EA797058F10}" dt="2025-04-01T19:19:40.156" v="232" actId="47"/>
          <pc:sldLayoutMkLst>
            <pc:docMk/>
            <pc:sldMasterMk cId="1699163094" sldId="2147483800"/>
            <pc:sldLayoutMk cId="3084817973" sldId="2147483801"/>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3516347635" sldId="2147483802"/>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3751558427" sldId="2147483803"/>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1987084634" sldId="2147483804"/>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2184035164" sldId="2147483805"/>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3992740603" sldId="2147483806"/>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537307683" sldId="2147483807"/>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2892475498" sldId="2147483808"/>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3608709342" sldId="2147483809"/>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133830559" sldId="2147483810"/>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2229574174" sldId="2147483811"/>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500865028" sldId="2147483812"/>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3007381463" sldId="2147483813"/>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1753067019" sldId="2147483814"/>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2973371901" sldId="2147483815"/>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3618801478" sldId="2147483816"/>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2112336385" sldId="2147483817"/>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4157824507" sldId="2147483818"/>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1859700747" sldId="2147483819"/>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386170506" sldId="2147483820"/>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4046145234" sldId="2147483821"/>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1743981189" sldId="2147483822"/>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2795830722" sldId="2147483823"/>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964947939" sldId="2147483824"/>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2128525388" sldId="2147483825"/>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1128950715" sldId="2147483826"/>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3884041211" sldId="2147483827"/>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3981758922" sldId="2147483828"/>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4068987739" sldId="2147483829"/>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990598344" sldId="2147483830"/>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2095909752" sldId="2147483831"/>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2981120613" sldId="2147483832"/>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1616450593" sldId="2147483833"/>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1381597566" sldId="2147483834"/>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508079080" sldId="2147483835"/>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2143481166" sldId="2147483836"/>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2938425276" sldId="2147483837"/>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303428059" sldId="2147483838"/>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3688318547" sldId="2147483839"/>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2085900857" sldId="2147483840"/>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3088117086" sldId="2147483841"/>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1221668514" sldId="2147483842"/>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1700026728" sldId="2147483843"/>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1149222215" sldId="2147483844"/>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157384955" sldId="2147483845"/>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1127209798" sldId="2147483846"/>
          </pc:sldLayoutMkLst>
        </pc:sldLayoutChg>
        <pc:sldLayoutChg chg="del">
          <pc:chgData name="Asher Curtis" userId="494c4f5b-6d11-415a-9d9e-829c1135aa91" providerId="ADAL" clId="{769083BD-FBA8-48DF-9C04-5EA797058F10}" dt="2025-04-01T19:19:40.156" v="232" actId="47"/>
          <pc:sldLayoutMkLst>
            <pc:docMk/>
            <pc:sldMasterMk cId="1699163094" sldId="2147483800"/>
            <pc:sldLayoutMk cId="2000997760" sldId="2147483847"/>
          </pc:sldLayoutMkLst>
        </pc:sldLayoutChg>
      </pc:sldMasterChg>
      <pc:sldMasterChg chg="del delSldLayout">
        <pc:chgData name="Asher Curtis" userId="494c4f5b-6d11-415a-9d9e-829c1135aa91" providerId="ADAL" clId="{769083BD-FBA8-48DF-9C04-5EA797058F10}" dt="2025-04-01T19:20:04.489" v="233" actId="47"/>
        <pc:sldMasterMkLst>
          <pc:docMk/>
          <pc:sldMasterMk cId="2786438515" sldId="2147483851"/>
        </pc:sldMasterMkLst>
        <pc:sldLayoutChg chg="del">
          <pc:chgData name="Asher Curtis" userId="494c4f5b-6d11-415a-9d9e-829c1135aa91" providerId="ADAL" clId="{769083BD-FBA8-48DF-9C04-5EA797058F10}" dt="2025-04-01T19:20:04.489" v="233" actId="47"/>
          <pc:sldLayoutMkLst>
            <pc:docMk/>
            <pc:sldMasterMk cId="2786438515" sldId="2147483851"/>
            <pc:sldLayoutMk cId="1101202502" sldId="2147483852"/>
          </pc:sldLayoutMkLst>
        </pc:sldLayoutChg>
        <pc:sldLayoutChg chg="del">
          <pc:chgData name="Asher Curtis" userId="494c4f5b-6d11-415a-9d9e-829c1135aa91" providerId="ADAL" clId="{769083BD-FBA8-48DF-9C04-5EA797058F10}" dt="2025-04-01T19:20:04.489" v="233" actId="47"/>
          <pc:sldLayoutMkLst>
            <pc:docMk/>
            <pc:sldMasterMk cId="2786438515" sldId="2147483851"/>
            <pc:sldLayoutMk cId="2388091263" sldId="2147483853"/>
          </pc:sldLayoutMkLst>
        </pc:sldLayoutChg>
        <pc:sldLayoutChg chg="del">
          <pc:chgData name="Asher Curtis" userId="494c4f5b-6d11-415a-9d9e-829c1135aa91" providerId="ADAL" clId="{769083BD-FBA8-48DF-9C04-5EA797058F10}" dt="2025-04-01T19:20:04.489" v="233" actId="47"/>
          <pc:sldLayoutMkLst>
            <pc:docMk/>
            <pc:sldMasterMk cId="2786438515" sldId="2147483851"/>
            <pc:sldLayoutMk cId="2975615517" sldId="2147483854"/>
          </pc:sldLayoutMkLst>
        </pc:sldLayoutChg>
        <pc:sldLayoutChg chg="del">
          <pc:chgData name="Asher Curtis" userId="494c4f5b-6d11-415a-9d9e-829c1135aa91" providerId="ADAL" clId="{769083BD-FBA8-48DF-9C04-5EA797058F10}" dt="2025-04-01T19:20:04.489" v="233" actId="47"/>
          <pc:sldLayoutMkLst>
            <pc:docMk/>
            <pc:sldMasterMk cId="2786438515" sldId="2147483851"/>
            <pc:sldLayoutMk cId="3466487400" sldId="2147483855"/>
          </pc:sldLayoutMkLst>
        </pc:sldLayoutChg>
        <pc:sldLayoutChg chg="del">
          <pc:chgData name="Asher Curtis" userId="494c4f5b-6d11-415a-9d9e-829c1135aa91" providerId="ADAL" clId="{769083BD-FBA8-48DF-9C04-5EA797058F10}" dt="2025-04-01T19:20:04.489" v="233" actId="47"/>
          <pc:sldLayoutMkLst>
            <pc:docMk/>
            <pc:sldMasterMk cId="2786438515" sldId="2147483851"/>
            <pc:sldLayoutMk cId="441374754" sldId="2147483856"/>
          </pc:sldLayoutMkLst>
        </pc:sldLayoutChg>
        <pc:sldLayoutChg chg="del">
          <pc:chgData name="Asher Curtis" userId="494c4f5b-6d11-415a-9d9e-829c1135aa91" providerId="ADAL" clId="{769083BD-FBA8-48DF-9C04-5EA797058F10}" dt="2025-04-01T19:20:04.489" v="233" actId="47"/>
          <pc:sldLayoutMkLst>
            <pc:docMk/>
            <pc:sldMasterMk cId="2786438515" sldId="2147483851"/>
            <pc:sldLayoutMk cId="4178948643" sldId="2147483857"/>
          </pc:sldLayoutMkLst>
        </pc:sldLayoutChg>
        <pc:sldLayoutChg chg="del">
          <pc:chgData name="Asher Curtis" userId="494c4f5b-6d11-415a-9d9e-829c1135aa91" providerId="ADAL" clId="{769083BD-FBA8-48DF-9C04-5EA797058F10}" dt="2025-04-01T19:20:04.489" v="233" actId="47"/>
          <pc:sldLayoutMkLst>
            <pc:docMk/>
            <pc:sldMasterMk cId="2786438515" sldId="2147483851"/>
            <pc:sldLayoutMk cId="2432843185" sldId="2147483858"/>
          </pc:sldLayoutMkLst>
        </pc:sldLayoutChg>
        <pc:sldLayoutChg chg="del">
          <pc:chgData name="Asher Curtis" userId="494c4f5b-6d11-415a-9d9e-829c1135aa91" providerId="ADAL" clId="{769083BD-FBA8-48DF-9C04-5EA797058F10}" dt="2025-04-01T19:20:04.489" v="233" actId="47"/>
          <pc:sldLayoutMkLst>
            <pc:docMk/>
            <pc:sldMasterMk cId="2786438515" sldId="2147483851"/>
            <pc:sldLayoutMk cId="2971949444" sldId="2147483859"/>
          </pc:sldLayoutMkLst>
        </pc:sldLayoutChg>
        <pc:sldLayoutChg chg="del">
          <pc:chgData name="Asher Curtis" userId="494c4f5b-6d11-415a-9d9e-829c1135aa91" providerId="ADAL" clId="{769083BD-FBA8-48DF-9C04-5EA797058F10}" dt="2025-04-01T19:20:04.489" v="233" actId="47"/>
          <pc:sldLayoutMkLst>
            <pc:docMk/>
            <pc:sldMasterMk cId="2786438515" sldId="2147483851"/>
            <pc:sldLayoutMk cId="1994546227" sldId="2147483860"/>
          </pc:sldLayoutMkLst>
        </pc:sldLayoutChg>
        <pc:sldLayoutChg chg="del">
          <pc:chgData name="Asher Curtis" userId="494c4f5b-6d11-415a-9d9e-829c1135aa91" providerId="ADAL" clId="{769083BD-FBA8-48DF-9C04-5EA797058F10}" dt="2025-04-01T19:20:04.489" v="233" actId="47"/>
          <pc:sldLayoutMkLst>
            <pc:docMk/>
            <pc:sldMasterMk cId="2786438515" sldId="2147483851"/>
            <pc:sldLayoutMk cId="3116874701" sldId="2147483861"/>
          </pc:sldLayoutMkLst>
        </pc:sldLayoutChg>
        <pc:sldLayoutChg chg="del">
          <pc:chgData name="Asher Curtis" userId="494c4f5b-6d11-415a-9d9e-829c1135aa91" providerId="ADAL" clId="{769083BD-FBA8-48DF-9C04-5EA797058F10}" dt="2025-04-01T19:20:04.489" v="233" actId="47"/>
          <pc:sldLayoutMkLst>
            <pc:docMk/>
            <pc:sldMasterMk cId="2786438515" sldId="2147483851"/>
            <pc:sldLayoutMk cId="830297289" sldId="2147483862"/>
          </pc:sldLayoutMkLst>
        </pc:sldLayoutChg>
        <pc:sldLayoutChg chg="del">
          <pc:chgData name="Asher Curtis" userId="494c4f5b-6d11-415a-9d9e-829c1135aa91" providerId="ADAL" clId="{769083BD-FBA8-48DF-9C04-5EA797058F10}" dt="2025-04-01T19:20:04.489" v="233" actId="47"/>
          <pc:sldLayoutMkLst>
            <pc:docMk/>
            <pc:sldMasterMk cId="2786438515" sldId="2147483851"/>
            <pc:sldLayoutMk cId="3382957935" sldId="2147483863"/>
          </pc:sldLayoutMkLst>
        </pc:sldLayoutChg>
        <pc:sldLayoutChg chg="del">
          <pc:chgData name="Asher Curtis" userId="494c4f5b-6d11-415a-9d9e-829c1135aa91" providerId="ADAL" clId="{769083BD-FBA8-48DF-9C04-5EA797058F10}" dt="2025-04-01T19:20:04.489" v="233" actId="47"/>
          <pc:sldLayoutMkLst>
            <pc:docMk/>
            <pc:sldMasterMk cId="2786438515" sldId="2147483851"/>
            <pc:sldLayoutMk cId="2416574454" sldId="2147483864"/>
          </pc:sldLayoutMkLst>
        </pc:sldLayoutChg>
      </pc:sldMasterChg>
      <pc:sldMasterChg chg="del delSldLayout">
        <pc:chgData name="Asher Curtis" userId="494c4f5b-6d11-415a-9d9e-829c1135aa91" providerId="ADAL" clId="{769083BD-FBA8-48DF-9C04-5EA797058F10}" dt="2025-04-01T19:20:04.489" v="233" actId="47"/>
        <pc:sldMasterMkLst>
          <pc:docMk/>
          <pc:sldMasterMk cId="3367221149" sldId="2147483865"/>
        </pc:sldMasterMkLst>
        <pc:sldLayoutChg chg="del">
          <pc:chgData name="Asher Curtis" userId="494c4f5b-6d11-415a-9d9e-829c1135aa91" providerId="ADAL" clId="{769083BD-FBA8-48DF-9C04-5EA797058F10}" dt="2025-04-01T19:20:04.489" v="233" actId="47"/>
          <pc:sldLayoutMkLst>
            <pc:docMk/>
            <pc:sldMasterMk cId="3367221149" sldId="2147483865"/>
            <pc:sldLayoutMk cId="1751064466" sldId="2147483866"/>
          </pc:sldLayoutMkLst>
        </pc:sldLayoutChg>
        <pc:sldLayoutChg chg="del">
          <pc:chgData name="Asher Curtis" userId="494c4f5b-6d11-415a-9d9e-829c1135aa91" providerId="ADAL" clId="{769083BD-FBA8-48DF-9C04-5EA797058F10}" dt="2025-04-01T19:20:04.489" v="233" actId="47"/>
          <pc:sldLayoutMkLst>
            <pc:docMk/>
            <pc:sldMasterMk cId="3367221149" sldId="2147483865"/>
            <pc:sldLayoutMk cId="512884593" sldId="2147483867"/>
          </pc:sldLayoutMkLst>
        </pc:sldLayoutChg>
        <pc:sldLayoutChg chg="del">
          <pc:chgData name="Asher Curtis" userId="494c4f5b-6d11-415a-9d9e-829c1135aa91" providerId="ADAL" clId="{769083BD-FBA8-48DF-9C04-5EA797058F10}" dt="2025-04-01T19:20:04.489" v="233" actId="47"/>
          <pc:sldLayoutMkLst>
            <pc:docMk/>
            <pc:sldMasterMk cId="3367221149" sldId="2147483865"/>
            <pc:sldLayoutMk cId="1265764988" sldId="2147483868"/>
          </pc:sldLayoutMkLst>
        </pc:sldLayoutChg>
        <pc:sldLayoutChg chg="del">
          <pc:chgData name="Asher Curtis" userId="494c4f5b-6d11-415a-9d9e-829c1135aa91" providerId="ADAL" clId="{769083BD-FBA8-48DF-9C04-5EA797058F10}" dt="2025-04-01T19:20:04.489" v="233" actId="47"/>
          <pc:sldLayoutMkLst>
            <pc:docMk/>
            <pc:sldMasterMk cId="3367221149" sldId="2147483865"/>
            <pc:sldLayoutMk cId="3569108909" sldId="2147483869"/>
          </pc:sldLayoutMkLst>
        </pc:sldLayoutChg>
        <pc:sldLayoutChg chg="del">
          <pc:chgData name="Asher Curtis" userId="494c4f5b-6d11-415a-9d9e-829c1135aa91" providerId="ADAL" clId="{769083BD-FBA8-48DF-9C04-5EA797058F10}" dt="2025-04-01T19:20:04.489" v="233" actId="47"/>
          <pc:sldLayoutMkLst>
            <pc:docMk/>
            <pc:sldMasterMk cId="3367221149" sldId="2147483865"/>
            <pc:sldLayoutMk cId="2466877432" sldId="2147483870"/>
          </pc:sldLayoutMkLst>
        </pc:sldLayoutChg>
        <pc:sldLayoutChg chg="del">
          <pc:chgData name="Asher Curtis" userId="494c4f5b-6d11-415a-9d9e-829c1135aa91" providerId="ADAL" clId="{769083BD-FBA8-48DF-9C04-5EA797058F10}" dt="2025-04-01T19:20:04.489" v="233" actId="47"/>
          <pc:sldLayoutMkLst>
            <pc:docMk/>
            <pc:sldMasterMk cId="3367221149" sldId="2147483865"/>
            <pc:sldLayoutMk cId="428458540" sldId="2147483871"/>
          </pc:sldLayoutMkLst>
        </pc:sldLayoutChg>
        <pc:sldLayoutChg chg="del">
          <pc:chgData name="Asher Curtis" userId="494c4f5b-6d11-415a-9d9e-829c1135aa91" providerId="ADAL" clId="{769083BD-FBA8-48DF-9C04-5EA797058F10}" dt="2025-04-01T19:20:04.489" v="233" actId="47"/>
          <pc:sldLayoutMkLst>
            <pc:docMk/>
            <pc:sldMasterMk cId="3367221149" sldId="2147483865"/>
            <pc:sldLayoutMk cId="3605908869" sldId="2147483872"/>
          </pc:sldLayoutMkLst>
        </pc:sldLayoutChg>
        <pc:sldLayoutChg chg="del">
          <pc:chgData name="Asher Curtis" userId="494c4f5b-6d11-415a-9d9e-829c1135aa91" providerId="ADAL" clId="{769083BD-FBA8-48DF-9C04-5EA797058F10}" dt="2025-04-01T19:20:04.489" v="233" actId="47"/>
          <pc:sldLayoutMkLst>
            <pc:docMk/>
            <pc:sldMasterMk cId="3367221149" sldId="2147483865"/>
            <pc:sldLayoutMk cId="996372738" sldId="2147483873"/>
          </pc:sldLayoutMkLst>
        </pc:sldLayoutChg>
        <pc:sldLayoutChg chg="del">
          <pc:chgData name="Asher Curtis" userId="494c4f5b-6d11-415a-9d9e-829c1135aa91" providerId="ADAL" clId="{769083BD-FBA8-48DF-9C04-5EA797058F10}" dt="2025-04-01T19:20:04.489" v="233" actId="47"/>
          <pc:sldLayoutMkLst>
            <pc:docMk/>
            <pc:sldMasterMk cId="3367221149" sldId="2147483865"/>
            <pc:sldLayoutMk cId="3763031102" sldId="2147483874"/>
          </pc:sldLayoutMkLst>
        </pc:sldLayoutChg>
      </pc:sldMasterChg>
      <pc:sldMasterChg chg="delSldLayout">
        <pc:chgData name="Asher Curtis" userId="494c4f5b-6d11-415a-9d9e-829c1135aa91" providerId="ADAL" clId="{769083BD-FBA8-48DF-9C04-5EA797058F10}" dt="2025-04-01T19:19:40.156" v="232" actId="47"/>
        <pc:sldMasterMkLst>
          <pc:docMk/>
          <pc:sldMasterMk cId="2005164372" sldId="2147483875"/>
        </pc:sldMasterMkLst>
        <pc:sldLayoutChg chg="del">
          <pc:chgData name="Asher Curtis" userId="494c4f5b-6d11-415a-9d9e-829c1135aa91" providerId="ADAL" clId="{769083BD-FBA8-48DF-9C04-5EA797058F10}" dt="2025-04-01T19:19:40.156" v="232" actId="47"/>
          <pc:sldLayoutMkLst>
            <pc:docMk/>
            <pc:sldMasterMk cId="2005164372" sldId="2147483875"/>
            <pc:sldLayoutMk cId="1195786596" sldId="2147483879"/>
          </pc:sldLayoutMkLst>
        </pc:sldLayoutChg>
      </pc:sldMasterChg>
      <pc:sldMasterChg chg="delSldLayout">
        <pc:chgData name="Asher Curtis" userId="494c4f5b-6d11-415a-9d9e-829c1135aa91" providerId="ADAL" clId="{769083BD-FBA8-48DF-9C04-5EA797058F10}" dt="2025-04-01T19:19:40.156" v="232" actId="47"/>
        <pc:sldMasterMkLst>
          <pc:docMk/>
          <pc:sldMasterMk cId="870229402" sldId="2147483880"/>
        </pc:sldMasterMkLst>
        <pc:sldLayoutChg chg="del">
          <pc:chgData name="Asher Curtis" userId="494c4f5b-6d11-415a-9d9e-829c1135aa91" providerId="ADAL" clId="{769083BD-FBA8-48DF-9C04-5EA797058F10}" dt="2025-04-01T19:19:40.156" v="232" actId="47"/>
          <pc:sldLayoutMkLst>
            <pc:docMk/>
            <pc:sldMasterMk cId="870229402" sldId="2147483880"/>
            <pc:sldLayoutMk cId="2787829293" sldId="2147483882"/>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719DF3-4A82-C148-9140-5613B905C879}" type="doc">
      <dgm:prSet loTypeId="urn:microsoft.com/office/officeart/2005/8/layout/chart3" loCatId="" qsTypeId="urn:microsoft.com/office/officeart/2005/8/quickstyle/simple1" qsCatId="simple" csTypeId="urn:microsoft.com/office/officeart/2005/8/colors/accent0_3" csCatId="mainScheme" phldr="1"/>
      <dgm:spPr/>
    </dgm:pt>
    <dgm:pt modelId="{77A3BB42-094E-3D42-A99D-B75303DD5651}">
      <dgm:prSet phldrT="[Text]" custT="1"/>
      <dgm:spPr>
        <a:ln>
          <a:noFill/>
        </a:ln>
      </dgm:spPr>
      <dgm:t>
        <a:bodyPr/>
        <a:lstStyle/>
        <a:p>
          <a:pPr algn="ctr"/>
          <a:r>
            <a:rPr lang="en-US" sz="2000"/>
            <a:t>Item</a:t>
          </a:r>
        </a:p>
      </dgm:t>
    </dgm:pt>
    <dgm:pt modelId="{A55517F4-278B-384E-B704-0BB1E9F651F8}" type="parTrans" cxnId="{767BBC93-0204-ED4D-B11B-247CF210CB67}">
      <dgm:prSet/>
      <dgm:spPr/>
      <dgm:t>
        <a:bodyPr/>
        <a:lstStyle/>
        <a:p>
          <a:pPr algn="ctr"/>
          <a:endParaRPr lang="en-US" sz="1400"/>
        </a:p>
      </dgm:t>
    </dgm:pt>
    <dgm:pt modelId="{8A2D4893-C7E8-D647-ADF3-9FD1CA21DB16}" type="sibTrans" cxnId="{767BBC93-0204-ED4D-B11B-247CF210CB67}">
      <dgm:prSet/>
      <dgm:spPr/>
      <dgm:t>
        <a:bodyPr/>
        <a:lstStyle/>
        <a:p>
          <a:pPr algn="ctr"/>
          <a:endParaRPr lang="en-US" sz="1400"/>
        </a:p>
      </dgm:t>
    </dgm:pt>
    <dgm:pt modelId="{995C2B0D-7B8E-1A46-81DC-2BC8FA62325E}">
      <dgm:prSet phldrT="[Text]" custT="1"/>
      <dgm:spPr>
        <a:solidFill>
          <a:schemeClr val="tx2">
            <a:lumMod val="60000"/>
            <a:lumOff val="40000"/>
          </a:schemeClr>
        </a:solidFill>
        <a:ln>
          <a:noFill/>
        </a:ln>
      </dgm:spPr>
      <dgm:t>
        <a:bodyPr/>
        <a:lstStyle/>
        <a:p>
          <a:pPr algn="ctr"/>
          <a:r>
            <a:rPr lang="en-US" sz="2000"/>
            <a:t>Item 2</a:t>
          </a:r>
        </a:p>
      </dgm:t>
    </dgm:pt>
    <dgm:pt modelId="{FF81CD08-B278-A841-9470-BD0A2A47687F}" type="parTrans" cxnId="{205977AB-C691-934F-88A2-64C76BFD629E}">
      <dgm:prSet/>
      <dgm:spPr/>
      <dgm:t>
        <a:bodyPr/>
        <a:lstStyle/>
        <a:p>
          <a:pPr algn="ctr"/>
          <a:endParaRPr lang="en-US" sz="1400"/>
        </a:p>
      </dgm:t>
    </dgm:pt>
    <dgm:pt modelId="{0204FB57-7308-D943-A1DE-FA33007B3255}" type="sibTrans" cxnId="{205977AB-C691-934F-88A2-64C76BFD629E}">
      <dgm:prSet/>
      <dgm:spPr/>
      <dgm:t>
        <a:bodyPr/>
        <a:lstStyle/>
        <a:p>
          <a:pPr algn="ctr"/>
          <a:endParaRPr lang="en-US" sz="1400"/>
        </a:p>
      </dgm:t>
    </dgm:pt>
    <dgm:pt modelId="{DC0A1970-8652-B54E-B667-DCA199B0FB94}">
      <dgm:prSet phldrT="[Text]" custT="1"/>
      <dgm:spPr>
        <a:solidFill>
          <a:schemeClr val="tx2">
            <a:lumMod val="40000"/>
            <a:lumOff val="60000"/>
          </a:schemeClr>
        </a:solidFill>
        <a:ln>
          <a:noFill/>
        </a:ln>
      </dgm:spPr>
      <dgm:t>
        <a:bodyPr/>
        <a:lstStyle/>
        <a:p>
          <a:pPr algn="ctr"/>
          <a:r>
            <a:rPr lang="en-US" sz="2000"/>
            <a:t>Item 3</a:t>
          </a:r>
        </a:p>
      </dgm:t>
    </dgm:pt>
    <dgm:pt modelId="{643102CC-04CB-1E40-B809-1DD2FF4750AE}" type="parTrans" cxnId="{D8155096-B706-1549-B9F9-378FDBCAAE91}">
      <dgm:prSet/>
      <dgm:spPr/>
      <dgm:t>
        <a:bodyPr/>
        <a:lstStyle/>
        <a:p>
          <a:pPr algn="ctr"/>
          <a:endParaRPr lang="en-US" sz="1400"/>
        </a:p>
      </dgm:t>
    </dgm:pt>
    <dgm:pt modelId="{8375C1B3-9867-FB4F-B5CC-54F437239E15}" type="sibTrans" cxnId="{D8155096-B706-1549-B9F9-378FDBCAAE91}">
      <dgm:prSet/>
      <dgm:spPr/>
      <dgm:t>
        <a:bodyPr/>
        <a:lstStyle/>
        <a:p>
          <a:pPr algn="ctr"/>
          <a:endParaRPr lang="en-US" sz="1400"/>
        </a:p>
      </dgm:t>
    </dgm:pt>
    <dgm:pt modelId="{04E93BD5-1CB5-4748-9F9A-1B2CD5EFEF00}" type="pres">
      <dgm:prSet presAssocID="{EF719DF3-4A82-C148-9140-5613B905C879}" presName="compositeShape" presStyleCnt="0">
        <dgm:presLayoutVars>
          <dgm:chMax val="7"/>
          <dgm:dir/>
          <dgm:resizeHandles val="exact"/>
        </dgm:presLayoutVars>
      </dgm:prSet>
      <dgm:spPr/>
    </dgm:pt>
    <dgm:pt modelId="{89CD0E9E-4235-C145-AB92-045EC8100009}" type="pres">
      <dgm:prSet presAssocID="{EF719DF3-4A82-C148-9140-5613B905C879}" presName="wedge1" presStyleLbl="node1" presStyleIdx="0" presStyleCnt="3" custLinFactNeighborY="306"/>
      <dgm:spPr/>
    </dgm:pt>
    <dgm:pt modelId="{8B9BC120-1307-984A-964E-E24555336430}" type="pres">
      <dgm:prSet presAssocID="{EF719DF3-4A82-C148-9140-5613B905C879}" presName="wedge1Tx" presStyleLbl="node1" presStyleIdx="0" presStyleCnt="3">
        <dgm:presLayoutVars>
          <dgm:chMax val="0"/>
          <dgm:chPref val="0"/>
          <dgm:bulletEnabled val="1"/>
        </dgm:presLayoutVars>
      </dgm:prSet>
      <dgm:spPr/>
    </dgm:pt>
    <dgm:pt modelId="{2AB4BE43-80DD-844B-AAA9-2C69B9F24FDD}" type="pres">
      <dgm:prSet presAssocID="{EF719DF3-4A82-C148-9140-5613B905C879}" presName="wedge2" presStyleLbl="node1" presStyleIdx="1" presStyleCnt="3"/>
      <dgm:spPr/>
    </dgm:pt>
    <dgm:pt modelId="{0AC24FE9-1EB0-C348-99CA-05EBCE10BC68}" type="pres">
      <dgm:prSet presAssocID="{EF719DF3-4A82-C148-9140-5613B905C879}" presName="wedge2Tx" presStyleLbl="node1" presStyleIdx="1" presStyleCnt="3">
        <dgm:presLayoutVars>
          <dgm:chMax val="0"/>
          <dgm:chPref val="0"/>
          <dgm:bulletEnabled val="1"/>
        </dgm:presLayoutVars>
      </dgm:prSet>
      <dgm:spPr/>
    </dgm:pt>
    <dgm:pt modelId="{3C7E195E-EAF2-534E-84B4-07089ADDB3D6}" type="pres">
      <dgm:prSet presAssocID="{EF719DF3-4A82-C148-9140-5613B905C879}" presName="wedge3" presStyleLbl="node1" presStyleIdx="2" presStyleCnt="3"/>
      <dgm:spPr/>
    </dgm:pt>
    <dgm:pt modelId="{E0A0A5B0-5F32-1D40-B69E-CC0E19171E72}" type="pres">
      <dgm:prSet presAssocID="{EF719DF3-4A82-C148-9140-5613B905C879}" presName="wedge3Tx" presStyleLbl="node1" presStyleIdx="2" presStyleCnt="3">
        <dgm:presLayoutVars>
          <dgm:chMax val="0"/>
          <dgm:chPref val="0"/>
          <dgm:bulletEnabled val="1"/>
        </dgm:presLayoutVars>
      </dgm:prSet>
      <dgm:spPr/>
    </dgm:pt>
  </dgm:ptLst>
  <dgm:cxnLst>
    <dgm:cxn modelId="{EA214130-73E7-F943-82C5-B0AF75F236AE}" type="presOf" srcId="{995C2B0D-7B8E-1A46-81DC-2BC8FA62325E}" destId="{0AC24FE9-1EB0-C348-99CA-05EBCE10BC68}" srcOrd="1" destOrd="0" presId="urn:microsoft.com/office/officeart/2005/8/layout/chart3"/>
    <dgm:cxn modelId="{A8D52B65-5EBA-0840-8A05-9D8A561E0DB6}" type="presOf" srcId="{DC0A1970-8652-B54E-B667-DCA199B0FB94}" destId="{E0A0A5B0-5F32-1D40-B69E-CC0E19171E72}" srcOrd="1" destOrd="0" presId="urn:microsoft.com/office/officeart/2005/8/layout/chart3"/>
    <dgm:cxn modelId="{D5CE534A-952E-FD40-AA3C-E8ECDC559973}" type="presOf" srcId="{77A3BB42-094E-3D42-A99D-B75303DD5651}" destId="{8B9BC120-1307-984A-964E-E24555336430}" srcOrd="1" destOrd="0" presId="urn:microsoft.com/office/officeart/2005/8/layout/chart3"/>
    <dgm:cxn modelId="{767BBC93-0204-ED4D-B11B-247CF210CB67}" srcId="{EF719DF3-4A82-C148-9140-5613B905C879}" destId="{77A3BB42-094E-3D42-A99D-B75303DD5651}" srcOrd="0" destOrd="0" parTransId="{A55517F4-278B-384E-B704-0BB1E9F651F8}" sibTransId="{8A2D4893-C7E8-D647-ADF3-9FD1CA21DB16}"/>
    <dgm:cxn modelId="{D8155096-B706-1549-B9F9-378FDBCAAE91}" srcId="{EF719DF3-4A82-C148-9140-5613B905C879}" destId="{DC0A1970-8652-B54E-B667-DCA199B0FB94}" srcOrd="2" destOrd="0" parTransId="{643102CC-04CB-1E40-B809-1DD2FF4750AE}" sibTransId="{8375C1B3-9867-FB4F-B5CC-54F437239E15}"/>
    <dgm:cxn modelId="{4952E6AA-4275-924A-90BB-A6BEE99289BD}" type="presOf" srcId="{77A3BB42-094E-3D42-A99D-B75303DD5651}" destId="{89CD0E9E-4235-C145-AB92-045EC8100009}" srcOrd="0" destOrd="0" presId="urn:microsoft.com/office/officeart/2005/8/layout/chart3"/>
    <dgm:cxn modelId="{205977AB-C691-934F-88A2-64C76BFD629E}" srcId="{EF719DF3-4A82-C148-9140-5613B905C879}" destId="{995C2B0D-7B8E-1A46-81DC-2BC8FA62325E}" srcOrd="1" destOrd="0" parTransId="{FF81CD08-B278-A841-9470-BD0A2A47687F}" sibTransId="{0204FB57-7308-D943-A1DE-FA33007B3255}"/>
    <dgm:cxn modelId="{67B36DC3-40E8-B44E-AF32-3B64D478363B}" type="presOf" srcId="{DC0A1970-8652-B54E-B667-DCA199B0FB94}" destId="{3C7E195E-EAF2-534E-84B4-07089ADDB3D6}" srcOrd="0" destOrd="0" presId="urn:microsoft.com/office/officeart/2005/8/layout/chart3"/>
    <dgm:cxn modelId="{5E58E8D0-12B5-E14A-B069-7508DA82576B}" type="presOf" srcId="{EF719DF3-4A82-C148-9140-5613B905C879}" destId="{04E93BD5-1CB5-4748-9F9A-1B2CD5EFEF00}" srcOrd="0" destOrd="0" presId="urn:microsoft.com/office/officeart/2005/8/layout/chart3"/>
    <dgm:cxn modelId="{606A0DF3-8542-144C-B2CA-CA51B4961235}" type="presOf" srcId="{995C2B0D-7B8E-1A46-81DC-2BC8FA62325E}" destId="{2AB4BE43-80DD-844B-AAA9-2C69B9F24FDD}" srcOrd="0" destOrd="0" presId="urn:microsoft.com/office/officeart/2005/8/layout/chart3"/>
    <dgm:cxn modelId="{E57131BE-F3BB-8541-94DF-D0587226D069}" type="presParOf" srcId="{04E93BD5-1CB5-4748-9F9A-1B2CD5EFEF00}" destId="{89CD0E9E-4235-C145-AB92-045EC8100009}" srcOrd="0" destOrd="0" presId="urn:microsoft.com/office/officeart/2005/8/layout/chart3"/>
    <dgm:cxn modelId="{C39EA9B2-34A6-6646-AA7E-343DB88ECDBF}" type="presParOf" srcId="{04E93BD5-1CB5-4748-9F9A-1B2CD5EFEF00}" destId="{8B9BC120-1307-984A-964E-E24555336430}" srcOrd="1" destOrd="0" presId="urn:microsoft.com/office/officeart/2005/8/layout/chart3"/>
    <dgm:cxn modelId="{9168A694-EB6E-054E-8F51-D1245DEFBEE6}" type="presParOf" srcId="{04E93BD5-1CB5-4748-9F9A-1B2CD5EFEF00}" destId="{2AB4BE43-80DD-844B-AAA9-2C69B9F24FDD}" srcOrd="2" destOrd="0" presId="urn:microsoft.com/office/officeart/2005/8/layout/chart3"/>
    <dgm:cxn modelId="{AA4596B9-EC71-8B4C-A5CA-48C79CD4836A}" type="presParOf" srcId="{04E93BD5-1CB5-4748-9F9A-1B2CD5EFEF00}" destId="{0AC24FE9-1EB0-C348-99CA-05EBCE10BC68}" srcOrd="3" destOrd="0" presId="urn:microsoft.com/office/officeart/2005/8/layout/chart3"/>
    <dgm:cxn modelId="{FD2405E0-95E6-FE48-B4F7-9829835E721B}" type="presParOf" srcId="{04E93BD5-1CB5-4748-9F9A-1B2CD5EFEF00}" destId="{3C7E195E-EAF2-534E-84B4-07089ADDB3D6}" srcOrd="4" destOrd="0" presId="urn:microsoft.com/office/officeart/2005/8/layout/chart3"/>
    <dgm:cxn modelId="{AAA11EBA-883C-3A4C-9BEF-6C4519DBCD54}" type="presParOf" srcId="{04E93BD5-1CB5-4748-9F9A-1B2CD5EFEF00}" destId="{E0A0A5B0-5F32-1D40-B69E-CC0E19171E72}" srcOrd="5" destOrd="0" presId="urn:microsoft.com/office/officeart/2005/8/layout/char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46F266-2D4D-FD46-AF7A-A86525469ABA}" type="doc">
      <dgm:prSet loTypeId="urn:microsoft.com/office/officeart/2005/8/layout/lProcess3" loCatId="" qsTypeId="urn:microsoft.com/office/officeart/2005/8/quickstyle/simple1" qsCatId="simple" csTypeId="urn:microsoft.com/office/officeart/2005/8/colors/accent1_2" csCatId="accent1" phldr="1"/>
      <dgm:spPr/>
      <dgm:t>
        <a:bodyPr/>
        <a:lstStyle/>
        <a:p>
          <a:endParaRPr lang="en-US"/>
        </a:p>
      </dgm:t>
    </dgm:pt>
    <dgm:pt modelId="{722CB595-2EEF-AC4F-A6C4-20A6E2DA627A}">
      <dgm:prSet phldrT="[Text]" phldr="1" custT="1"/>
      <dgm:spPr>
        <a:solidFill>
          <a:srgbClr val="32006E"/>
        </a:solidFill>
        <a:ln>
          <a:noFill/>
        </a:ln>
      </dgm:spPr>
      <dgm:t>
        <a:bodyPr/>
        <a:lstStyle/>
        <a:p>
          <a:endParaRPr lang="en-US" sz="1800"/>
        </a:p>
      </dgm:t>
    </dgm:pt>
    <dgm:pt modelId="{47D85E41-46AC-0F4E-B8A0-0C4600250E1A}" type="parTrans" cxnId="{691131C3-BCF7-4349-8BB2-809ADB457881}">
      <dgm:prSet/>
      <dgm:spPr/>
      <dgm:t>
        <a:bodyPr/>
        <a:lstStyle/>
        <a:p>
          <a:endParaRPr lang="en-US" sz="1200"/>
        </a:p>
      </dgm:t>
    </dgm:pt>
    <dgm:pt modelId="{78419449-D977-2F43-BB41-969B66705310}" type="sibTrans" cxnId="{691131C3-BCF7-4349-8BB2-809ADB457881}">
      <dgm:prSet/>
      <dgm:spPr/>
      <dgm:t>
        <a:bodyPr/>
        <a:lstStyle/>
        <a:p>
          <a:endParaRPr lang="en-US" sz="1200"/>
        </a:p>
      </dgm:t>
    </dgm:pt>
    <dgm:pt modelId="{DD0332C0-96DD-7340-A76A-6A2FBE39EA42}">
      <dgm:prSet phldrT="[Text]" phldr="1" custT="1"/>
      <dgm:spPr>
        <a:solidFill>
          <a:schemeClr val="accent2">
            <a:alpha val="90000"/>
          </a:schemeClr>
        </a:solidFill>
        <a:ln w="0">
          <a:noFill/>
        </a:ln>
      </dgm:spPr>
      <dgm:t>
        <a:bodyPr/>
        <a:lstStyle/>
        <a:p>
          <a:endParaRPr lang="en-US" sz="1600"/>
        </a:p>
      </dgm:t>
    </dgm:pt>
    <dgm:pt modelId="{ADEC84E3-807B-3545-9940-532A75679C62}" type="parTrans" cxnId="{A07BCFC8-82FF-9347-B6A1-ED644A160D54}">
      <dgm:prSet/>
      <dgm:spPr/>
      <dgm:t>
        <a:bodyPr/>
        <a:lstStyle/>
        <a:p>
          <a:endParaRPr lang="en-US" sz="1200"/>
        </a:p>
      </dgm:t>
    </dgm:pt>
    <dgm:pt modelId="{7A855ABF-A2C8-3A41-8215-3B87DAE9AE09}" type="sibTrans" cxnId="{A07BCFC8-82FF-9347-B6A1-ED644A160D54}">
      <dgm:prSet/>
      <dgm:spPr/>
      <dgm:t>
        <a:bodyPr/>
        <a:lstStyle/>
        <a:p>
          <a:endParaRPr lang="en-US" sz="1200"/>
        </a:p>
      </dgm:t>
    </dgm:pt>
    <dgm:pt modelId="{CCD9A903-A7F2-BC47-AD6F-50D1DEC0D425}">
      <dgm:prSet phldrT="[Text]" phldr="1" custT="1"/>
      <dgm:spPr>
        <a:solidFill>
          <a:schemeClr val="accent6">
            <a:alpha val="90000"/>
          </a:schemeClr>
        </a:solidFill>
        <a:ln>
          <a:noFill/>
        </a:ln>
      </dgm:spPr>
      <dgm:t>
        <a:bodyPr/>
        <a:lstStyle/>
        <a:p>
          <a:endParaRPr lang="en-US" sz="1600"/>
        </a:p>
      </dgm:t>
    </dgm:pt>
    <dgm:pt modelId="{915C908C-0C0D-8141-8DFF-72F7ECFDA028}" type="parTrans" cxnId="{04E75FFA-5FDD-7B43-AB8B-668B4F0B17EB}">
      <dgm:prSet/>
      <dgm:spPr/>
      <dgm:t>
        <a:bodyPr/>
        <a:lstStyle/>
        <a:p>
          <a:endParaRPr lang="en-US" sz="1200"/>
        </a:p>
      </dgm:t>
    </dgm:pt>
    <dgm:pt modelId="{5B803918-9505-B44A-A3D0-0295AB52420E}" type="sibTrans" cxnId="{04E75FFA-5FDD-7B43-AB8B-668B4F0B17EB}">
      <dgm:prSet/>
      <dgm:spPr/>
      <dgm:t>
        <a:bodyPr/>
        <a:lstStyle/>
        <a:p>
          <a:endParaRPr lang="en-US" sz="1200"/>
        </a:p>
      </dgm:t>
    </dgm:pt>
    <dgm:pt modelId="{FB4F511E-4FF6-4A49-AF98-DB59A4CFB948}">
      <dgm:prSet phldrT="[Text]" phldr="1" custT="1"/>
      <dgm:spPr>
        <a:solidFill>
          <a:srgbClr val="32006E"/>
        </a:solidFill>
        <a:ln>
          <a:noFill/>
        </a:ln>
      </dgm:spPr>
      <dgm:t>
        <a:bodyPr/>
        <a:lstStyle/>
        <a:p>
          <a:endParaRPr lang="en-US" sz="1800"/>
        </a:p>
      </dgm:t>
    </dgm:pt>
    <dgm:pt modelId="{71D0377B-6B5D-A641-9C24-7CF1D9D99D12}" type="parTrans" cxnId="{55F71AE3-8299-6F49-A042-5136175618C2}">
      <dgm:prSet/>
      <dgm:spPr/>
      <dgm:t>
        <a:bodyPr/>
        <a:lstStyle/>
        <a:p>
          <a:endParaRPr lang="en-US" sz="1200"/>
        </a:p>
      </dgm:t>
    </dgm:pt>
    <dgm:pt modelId="{8CBD04F3-ACB5-FA41-8183-E0BF8B52ECFA}" type="sibTrans" cxnId="{55F71AE3-8299-6F49-A042-5136175618C2}">
      <dgm:prSet/>
      <dgm:spPr/>
      <dgm:t>
        <a:bodyPr/>
        <a:lstStyle/>
        <a:p>
          <a:endParaRPr lang="en-US" sz="1200"/>
        </a:p>
      </dgm:t>
    </dgm:pt>
    <dgm:pt modelId="{5C93A0EB-AD97-F049-AE5A-FF406E3A6F1E}">
      <dgm:prSet phldrT="[Text]" phldr="1" custT="1"/>
      <dgm:spPr>
        <a:solidFill>
          <a:schemeClr val="accent2">
            <a:alpha val="90000"/>
          </a:schemeClr>
        </a:solidFill>
        <a:ln>
          <a:noFill/>
        </a:ln>
      </dgm:spPr>
      <dgm:t>
        <a:bodyPr/>
        <a:lstStyle/>
        <a:p>
          <a:endParaRPr lang="en-US" sz="1600"/>
        </a:p>
      </dgm:t>
    </dgm:pt>
    <dgm:pt modelId="{23EB0048-4304-4143-AA1C-AF03EBB85B1C}" type="parTrans" cxnId="{6A302983-7F83-444A-A190-931D3FF94FE0}">
      <dgm:prSet/>
      <dgm:spPr/>
      <dgm:t>
        <a:bodyPr/>
        <a:lstStyle/>
        <a:p>
          <a:endParaRPr lang="en-US" sz="1200"/>
        </a:p>
      </dgm:t>
    </dgm:pt>
    <dgm:pt modelId="{D8ED0AB3-179A-0344-8E7E-6BFD0225D9A9}" type="sibTrans" cxnId="{6A302983-7F83-444A-A190-931D3FF94FE0}">
      <dgm:prSet/>
      <dgm:spPr/>
      <dgm:t>
        <a:bodyPr/>
        <a:lstStyle/>
        <a:p>
          <a:endParaRPr lang="en-US" sz="1200"/>
        </a:p>
      </dgm:t>
    </dgm:pt>
    <dgm:pt modelId="{538B12D3-D3CF-684D-BE0A-1E0D5BC853C9}">
      <dgm:prSet phldrT="[Text]" phldr="1" custT="1"/>
      <dgm:spPr>
        <a:solidFill>
          <a:schemeClr val="accent6">
            <a:alpha val="90000"/>
          </a:schemeClr>
        </a:solidFill>
        <a:ln>
          <a:noFill/>
        </a:ln>
      </dgm:spPr>
      <dgm:t>
        <a:bodyPr/>
        <a:lstStyle/>
        <a:p>
          <a:endParaRPr lang="en-US" sz="1600"/>
        </a:p>
      </dgm:t>
    </dgm:pt>
    <dgm:pt modelId="{4418C474-9361-1F40-9B77-6DEB66D69B9E}" type="parTrans" cxnId="{422BFB9F-A205-4140-AFE2-8FABD7350169}">
      <dgm:prSet/>
      <dgm:spPr/>
      <dgm:t>
        <a:bodyPr/>
        <a:lstStyle/>
        <a:p>
          <a:endParaRPr lang="en-US" sz="1200"/>
        </a:p>
      </dgm:t>
    </dgm:pt>
    <dgm:pt modelId="{0188E021-5D2D-1542-B4A6-20707803F9DA}" type="sibTrans" cxnId="{422BFB9F-A205-4140-AFE2-8FABD7350169}">
      <dgm:prSet/>
      <dgm:spPr/>
      <dgm:t>
        <a:bodyPr/>
        <a:lstStyle/>
        <a:p>
          <a:endParaRPr lang="en-US" sz="1200"/>
        </a:p>
      </dgm:t>
    </dgm:pt>
    <dgm:pt modelId="{DCB7CCCF-7753-554E-96B0-D39AD857C250}">
      <dgm:prSet phldrT="[Text]" phldr="1" custT="1"/>
      <dgm:spPr>
        <a:solidFill>
          <a:srgbClr val="32006E"/>
        </a:solidFill>
        <a:ln>
          <a:noFill/>
        </a:ln>
      </dgm:spPr>
      <dgm:t>
        <a:bodyPr/>
        <a:lstStyle/>
        <a:p>
          <a:endParaRPr lang="en-US" sz="1800"/>
        </a:p>
      </dgm:t>
    </dgm:pt>
    <dgm:pt modelId="{5C041444-FE02-F146-B339-D4CEDE222EDF}" type="parTrans" cxnId="{6FB5226E-67D5-4A4A-9EDE-668BBEE98CE5}">
      <dgm:prSet/>
      <dgm:spPr/>
      <dgm:t>
        <a:bodyPr/>
        <a:lstStyle/>
        <a:p>
          <a:endParaRPr lang="en-US" sz="1200"/>
        </a:p>
      </dgm:t>
    </dgm:pt>
    <dgm:pt modelId="{4EEB789D-B798-7449-A1B5-077515089655}" type="sibTrans" cxnId="{6FB5226E-67D5-4A4A-9EDE-668BBEE98CE5}">
      <dgm:prSet/>
      <dgm:spPr/>
      <dgm:t>
        <a:bodyPr/>
        <a:lstStyle/>
        <a:p>
          <a:endParaRPr lang="en-US" sz="1200"/>
        </a:p>
      </dgm:t>
    </dgm:pt>
    <dgm:pt modelId="{FA13B991-4F9D-5544-BB61-D4D002387218}">
      <dgm:prSet phldrT="[Text]" phldr="1" custT="1"/>
      <dgm:spPr>
        <a:solidFill>
          <a:schemeClr val="accent2">
            <a:alpha val="90000"/>
          </a:schemeClr>
        </a:solidFill>
        <a:ln>
          <a:noFill/>
        </a:ln>
      </dgm:spPr>
      <dgm:t>
        <a:bodyPr/>
        <a:lstStyle/>
        <a:p>
          <a:endParaRPr lang="en-US" sz="1600"/>
        </a:p>
      </dgm:t>
    </dgm:pt>
    <dgm:pt modelId="{776D0657-C297-784C-8560-61E909F5068E}" type="parTrans" cxnId="{7BE266D2-871C-F340-9C77-CD4FAB7E2424}">
      <dgm:prSet/>
      <dgm:spPr/>
      <dgm:t>
        <a:bodyPr/>
        <a:lstStyle/>
        <a:p>
          <a:endParaRPr lang="en-US" sz="1200"/>
        </a:p>
      </dgm:t>
    </dgm:pt>
    <dgm:pt modelId="{D188C862-7BEB-7F4E-B3F6-2AF6ABA7ACCF}" type="sibTrans" cxnId="{7BE266D2-871C-F340-9C77-CD4FAB7E2424}">
      <dgm:prSet/>
      <dgm:spPr/>
      <dgm:t>
        <a:bodyPr/>
        <a:lstStyle/>
        <a:p>
          <a:endParaRPr lang="en-US" sz="1200"/>
        </a:p>
      </dgm:t>
    </dgm:pt>
    <dgm:pt modelId="{1F883E83-A72B-7446-87AB-832725AA7A18}">
      <dgm:prSet phldrT="[Text]" phldr="1" custT="1"/>
      <dgm:spPr>
        <a:solidFill>
          <a:schemeClr val="accent6">
            <a:alpha val="90000"/>
          </a:schemeClr>
        </a:solidFill>
        <a:ln>
          <a:noFill/>
        </a:ln>
      </dgm:spPr>
      <dgm:t>
        <a:bodyPr/>
        <a:lstStyle/>
        <a:p>
          <a:endParaRPr lang="en-US" sz="1600"/>
        </a:p>
      </dgm:t>
    </dgm:pt>
    <dgm:pt modelId="{396DCF66-2C04-5449-8826-8C60E6AA7F8A}" type="parTrans" cxnId="{F735FB18-BC41-F04B-BC57-AD5DC47FC9EF}">
      <dgm:prSet/>
      <dgm:spPr/>
      <dgm:t>
        <a:bodyPr/>
        <a:lstStyle/>
        <a:p>
          <a:endParaRPr lang="en-US" sz="1200"/>
        </a:p>
      </dgm:t>
    </dgm:pt>
    <dgm:pt modelId="{63958C8A-728B-0345-8926-91E6A775A706}" type="sibTrans" cxnId="{F735FB18-BC41-F04B-BC57-AD5DC47FC9EF}">
      <dgm:prSet/>
      <dgm:spPr/>
      <dgm:t>
        <a:bodyPr/>
        <a:lstStyle/>
        <a:p>
          <a:endParaRPr lang="en-US" sz="1200"/>
        </a:p>
      </dgm:t>
    </dgm:pt>
    <dgm:pt modelId="{0E9CBE9C-2D64-574E-AEE6-CF2BE4D77196}" type="pres">
      <dgm:prSet presAssocID="{5646F266-2D4D-FD46-AF7A-A86525469ABA}" presName="Name0" presStyleCnt="0">
        <dgm:presLayoutVars>
          <dgm:chPref val="3"/>
          <dgm:dir/>
          <dgm:animLvl val="lvl"/>
          <dgm:resizeHandles/>
        </dgm:presLayoutVars>
      </dgm:prSet>
      <dgm:spPr/>
    </dgm:pt>
    <dgm:pt modelId="{CEB69393-39FA-A940-A25B-E5F86EEE7607}" type="pres">
      <dgm:prSet presAssocID="{722CB595-2EEF-AC4F-A6C4-20A6E2DA627A}" presName="horFlow" presStyleCnt="0"/>
      <dgm:spPr/>
    </dgm:pt>
    <dgm:pt modelId="{C5E3CCB3-0BC1-AF4B-8EAC-F10248613508}" type="pres">
      <dgm:prSet presAssocID="{722CB595-2EEF-AC4F-A6C4-20A6E2DA627A}" presName="bigChev" presStyleLbl="node1" presStyleIdx="0" presStyleCnt="3"/>
      <dgm:spPr/>
    </dgm:pt>
    <dgm:pt modelId="{E089EC99-634C-AE49-ADBD-8B10A6D1F004}" type="pres">
      <dgm:prSet presAssocID="{ADEC84E3-807B-3545-9940-532A75679C62}" presName="parTrans" presStyleCnt="0"/>
      <dgm:spPr/>
    </dgm:pt>
    <dgm:pt modelId="{20E52258-4FF7-304B-9AEB-2668DA35E9B1}" type="pres">
      <dgm:prSet presAssocID="{DD0332C0-96DD-7340-A76A-6A2FBE39EA42}" presName="node" presStyleLbl="alignAccFollowNode1" presStyleIdx="0" presStyleCnt="6">
        <dgm:presLayoutVars>
          <dgm:bulletEnabled val="1"/>
        </dgm:presLayoutVars>
      </dgm:prSet>
      <dgm:spPr/>
    </dgm:pt>
    <dgm:pt modelId="{BFA4682F-B233-7547-88D0-6C525CEC3A0A}" type="pres">
      <dgm:prSet presAssocID="{7A855ABF-A2C8-3A41-8215-3B87DAE9AE09}" presName="sibTrans" presStyleCnt="0"/>
      <dgm:spPr/>
    </dgm:pt>
    <dgm:pt modelId="{E1B57658-D8BF-F443-84C1-22E352EDE6B0}" type="pres">
      <dgm:prSet presAssocID="{CCD9A903-A7F2-BC47-AD6F-50D1DEC0D425}" presName="node" presStyleLbl="alignAccFollowNode1" presStyleIdx="1" presStyleCnt="6">
        <dgm:presLayoutVars>
          <dgm:bulletEnabled val="1"/>
        </dgm:presLayoutVars>
      </dgm:prSet>
      <dgm:spPr/>
    </dgm:pt>
    <dgm:pt modelId="{083FC078-3ACF-EE4E-916F-C7A4A2CAE754}" type="pres">
      <dgm:prSet presAssocID="{722CB595-2EEF-AC4F-A6C4-20A6E2DA627A}" presName="vSp" presStyleCnt="0"/>
      <dgm:spPr/>
    </dgm:pt>
    <dgm:pt modelId="{EBE9218C-B84C-B44D-83C5-06B735EDEBCF}" type="pres">
      <dgm:prSet presAssocID="{FB4F511E-4FF6-4A49-AF98-DB59A4CFB948}" presName="horFlow" presStyleCnt="0"/>
      <dgm:spPr/>
    </dgm:pt>
    <dgm:pt modelId="{029D911B-73AD-F547-A0A7-C406F6EE2CEC}" type="pres">
      <dgm:prSet presAssocID="{FB4F511E-4FF6-4A49-AF98-DB59A4CFB948}" presName="bigChev" presStyleLbl="node1" presStyleIdx="1" presStyleCnt="3"/>
      <dgm:spPr/>
    </dgm:pt>
    <dgm:pt modelId="{74E66A93-8C7E-1A40-9A5E-D80E31B558A4}" type="pres">
      <dgm:prSet presAssocID="{23EB0048-4304-4143-AA1C-AF03EBB85B1C}" presName="parTrans" presStyleCnt="0"/>
      <dgm:spPr/>
    </dgm:pt>
    <dgm:pt modelId="{9B4B63C0-F38B-B542-8461-579A7F67A84F}" type="pres">
      <dgm:prSet presAssocID="{5C93A0EB-AD97-F049-AE5A-FF406E3A6F1E}" presName="node" presStyleLbl="alignAccFollowNode1" presStyleIdx="2" presStyleCnt="6">
        <dgm:presLayoutVars>
          <dgm:bulletEnabled val="1"/>
        </dgm:presLayoutVars>
      </dgm:prSet>
      <dgm:spPr/>
    </dgm:pt>
    <dgm:pt modelId="{94B3C479-747D-B44F-9DAB-EFC11B0D7BD9}" type="pres">
      <dgm:prSet presAssocID="{D8ED0AB3-179A-0344-8E7E-6BFD0225D9A9}" presName="sibTrans" presStyleCnt="0"/>
      <dgm:spPr/>
    </dgm:pt>
    <dgm:pt modelId="{E796E65B-6761-2E4C-8179-24E99DFCB0B3}" type="pres">
      <dgm:prSet presAssocID="{538B12D3-D3CF-684D-BE0A-1E0D5BC853C9}" presName="node" presStyleLbl="alignAccFollowNode1" presStyleIdx="3" presStyleCnt="6">
        <dgm:presLayoutVars>
          <dgm:bulletEnabled val="1"/>
        </dgm:presLayoutVars>
      </dgm:prSet>
      <dgm:spPr/>
    </dgm:pt>
    <dgm:pt modelId="{4F8325AE-FAAF-8543-A6C0-A510FB49F8A9}" type="pres">
      <dgm:prSet presAssocID="{FB4F511E-4FF6-4A49-AF98-DB59A4CFB948}" presName="vSp" presStyleCnt="0"/>
      <dgm:spPr/>
    </dgm:pt>
    <dgm:pt modelId="{5ECA4D4D-83AF-274D-9E18-D7DFCCBDC296}" type="pres">
      <dgm:prSet presAssocID="{DCB7CCCF-7753-554E-96B0-D39AD857C250}" presName="horFlow" presStyleCnt="0"/>
      <dgm:spPr/>
    </dgm:pt>
    <dgm:pt modelId="{A7C0EE00-F7C6-D044-906A-AD16F19A789D}" type="pres">
      <dgm:prSet presAssocID="{DCB7CCCF-7753-554E-96B0-D39AD857C250}" presName="bigChev" presStyleLbl="node1" presStyleIdx="2" presStyleCnt="3"/>
      <dgm:spPr/>
    </dgm:pt>
    <dgm:pt modelId="{C31216F7-2493-BE4C-BD0C-78BA866F5EC9}" type="pres">
      <dgm:prSet presAssocID="{776D0657-C297-784C-8560-61E909F5068E}" presName="parTrans" presStyleCnt="0"/>
      <dgm:spPr/>
    </dgm:pt>
    <dgm:pt modelId="{36DA82F4-E513-0941-8EF9-BEEBD5F7B143}" type="pres">
      <dgm:prSet presAssocID="{FA13B991-4F9D-5544-BB61-D4D002387218}" presName="node" presStyleLbl="alignAccFollowNode1" presStyleIdx="4" presStyleCnt="6">
        <dgm:presLayoutVars>
          <dgm:bulletEnabled val="1"/>
        </dgm:presLayoutVars>
      </dgm:prSet>
      <dgm:spPr/>
    </dgm:pt>
    <dgm:pt modelId="{2C51EF5A-F4B0-604C-B251-E629BB47BA91}" type="pres">
      <dgm:prSet presAssocID="{D188C862-7BEB-7F4E-B3F6-2AF6ABA7ACCF}" presName="sibTrans" presStyleCnt="0"/>
      <dgm:spPr/>
    </dgm:pt>
    <dgm:pt modelId="{52B86B82-20A2-8944-8934-5D590ABF1A02}" type="pres">
      <dgm:prSet presAssocID="{1F883E83-A72B-7446-87AB-832725AA7A18}" presName="node" presStyleLbl="alignAccFollowNode1" presStyleIdx="5" presStyleCnt="6">
        <dgm:presLayoutVars>
          <dgm:bulletEnabled val="1"/>
        </dgm:presLayoutVars>
      </dgm:prSet>
      <dgm:spPr/>
    </dgm:pt>
  </dgm:ptLst>
  <dgm:cxnLst>
    <dgm:cxn modelId="{6E754109-C085-2544-9C7A-1105E4BF8157}" type="presOf" srcId="{DCB7CCCF-7753-554E-96B0-D39AD857C250}" destId="{A7C0EE00-F7C6-D044-906A-AD16F19A789D}" srcOrd="0" destOrd="0" presId="urn:microsoft.com/office/officeart/2005/8/layout/lProcess3"/>
    <dgm:cxn modelId="{F735FB18-BC41-F04B-BC57-AD5DC47FC9EF}" srcId="{DCB7CCCF-7753-554E-96B0-D39AD857C250}" destId="{1F883E83-A72B-7446-87AB-832725AA7A18}" srcOrd="1" destOrd="0" parTransId="{396DCF66-2C04-5449-8826-8C60E6AA7F8A}" sibTransId="{63958C8A-728B-0345-8926-91E6A775A706}"/>
    <dgm:cxn modelId="{B7FFD527-2074-E54A-B679-4646C44DE55D}" type="presOf" srcId="{FA13B991-4F9D-5544-BB61-D4D002387218}" destId="{36DA82F4-E513-0941-8EF9-BEEBD5F7B143}" srcOrd="0" destOrd="0" presId="urn:microsoft.com/office/officeart/2005/8/layout/lProcess3"/>
    <dgm:cxn modelId="{2B2A8D61-1EC7-8C4D-900C-C3EC63B783E0}" type="presOf" srcId="{DD0332C0-96DD-7340-A76A-6A2FBE39EA42}" destId="{20E52258-4FF7-304B-9AEB-2668DA35E9B1}" srcOrd="0" destOrd="0" presId="urn:microsoft.com/office/officeart/2005/8/layout/lProcess3"/>
    <dgm:cxn modelId="{192C9149-47B4-0348-9312-FD2784AC3267}" type="presOf" srcId="{722CB595-2EEF-AC4F-A6C4-20A6E2DA627A}" destId="{C5E3CCB3-0BC1-AF4B-8EAC-F10248613508}" srcOrd="0" destOrd="0" presId="urn:microsoft.com/office/officeart/2005/8/layout/lProcess3"/>
    <dgm:cxn modelId="{6FB5226E-67D5-4A4A-9EDE-668BBEE98CE5}" srcId="{5646F266-2D4D-FD46-AF7A-A86525469ABA}" destId="{DCB7CCCF-7753-554E-96B0-D39AD857C250}" srcOrd="2" destOrd="0" parTransId="{5C041444-FE02-F146-B339-D4CEDE222EDF}" sibTransId="{4EEB789D-B798-7449-A1B5-077515089655}"/>
    <dgm:cxn modelId="{6A302983-7F83-444A-A190-931D3FF94FE0}" srcId="{FB4F511E-4FF6-4A49-AF98-DB59A4CFB948}" destId="{5C93A0EB-AD97-F049-AE5A-FF406E3A6F1E}" srcOrd="0" destOrd="0" parTransId="{23EB0048-4304-4143-AA1C-AF03EBB85B1C}" sibTransId="{D8ED0AB3-179A-0344-8E7E-6BFD0225D9A9}"/>
    <dgm:cxn modelId="{DAA97D95-062B-8845-A094-90AC747DDA1E}" type="presOf" srcId="{5C93A0EB-AD97-F049-AE5A-FF406E3A6F1E}" destId="{9B4B63C0-F38B-B542-8461-579A7F67A84F}" srcOrd="0" destOrd="0" presId="urn:microsoft.com/office/officeart/2005/8/layout/lProcess3"/>
    <dgm:cxn modelId="{422BFB9F-A205-4140-AFE2-8FABD7350169}" srcId="{FB4F511E-4FF6-4A49-AF98-DB59A4CFB948}" destId="{538B12D3-D3CF-684D-BE0A-1E0D5BC853C9}" srcOrd="1" destOrd="0" parTransId="{4418C474-9361-1F40-9B77-6DEB66D69B9E}" sibTransId="{0188E021-5D2D-1542-B4A6-20707803F9DA}"/>
    <dgm:cxn modelId="{AFF7E8A6-3FDB-E648-89D8-FC476B965A97}" type="presOf" srcId="{1F883E83-A72B-7446-87AB-832725AA7A18}" destId="{52B86B82-20A2-8944-8934-5D590ABF1A02}" srcOrd="0" destOrd="0" presId="urn:microsoft.com/office/officeart/2005/8/layout/lProcess3"/>
    <dgm:cxn modelId="{B36C40B2-4938-1640-B809-9FEF3028C411}" type="presOf" srcId="{FB4F511E-4FF6-4A49-AF98-DB59A4CFB948}" destId="{029D911B-73AD-F547-A0A7-C406F6EE2CEC}" srcOrd="0" destOrd="0" presId="urn:microsoft.com/office/officeart/2005/8/layout/lProcess3"/>
    <dgm:cxn modelId="{15669CB7-F022-F042-A5E2-025EB9489FC4}" type="presOf" srcId="{CCD9A903-A7F2-BC47-AD6F-50D1DEC0D425}" destId="{E1B57658-D8BF-F443-84C1-22E352EDE6B0}" srcOrd="0" destOrd="0" presId="urn:microsoft.com/office/officeart/2005/8/layout/lProcess3"/>
    <dgm:cxn modelId="{691131C3-BCF7-4349-8BB2-809ADB457881}" srcId="{5646F266-2D4D-FD46-AF7A-A86525469ABA}" destId="{722CB595-2EEF-AC4F-A6C4-20A6E2DA627A}" srcOrd="0" destOrd="0" parTransId="{47D85E41-46AC-0F4E-B8A0-0C4600250E1A}" sibTransId="{78419449-D977-2F43-BB41-969B66705310}"/>
    <dgm:cxn modelId="{49B3D4C4-296A-D344-A220-AA89C23077C9}" type="presOf" srcId="{538B12D3-D3CF-684D-BE0A-1E0D5BC853C9}" destId="{E796E65B-6761-2E4C-8179-24E99DFCB0B3}" srcOrd="0" destOrd="0" presId="urn:microsoft.com/office/officeart/2005/8/layout/lProcess3"/>
    <dgm:cxn modelId="{A07BCFC8-82FF-9347-B6A1-ED644A160D54}" srcId="{722CB595-2EEF-AC4F-A6C4-20A6E2DA627A}" destId="{DD0332C0-96DD-7340-A76A-6A2FBE39EA42}" srcOrd="0" destOrd="0" parTransId="{ADEC84E3-807B-3545-9940-532A75679C62}" sibTransId="{7A855ABF-A2C8-3A41-8215-3B87DAE9AE09}"/>
    <dgm:cxn modelId="{F9431BCE-C02A-1742-87D2-C10A01DA495B}" type="presOf" srcId="{5646F266-2D4D-FD46-AF7A-A86525469ABA}" destId="{0E9CBE9C-2D64-574E-AEE6-CF2BE4D77196}" srcOrd="0" destOrd="0" presId="urn:microsoft.com/office/officeart/2005/8/layout/lProcess3"/>
    <dgm:cxn modelId="{7BE266D2-871C-F340-9C77-CD4FAB7E2424}" srcId="{DCB7CCCF-7753-554E-96B0-D39AD857C250}" destId="{FA13B991-4F9D-5544-BB61-D4D002387218}" srcOrd="0" destOrd="0" parTransId="{776D0657-C297-784C-8560-61E909F5068E}" sibTransId="{D188C862-7BEB-7F4E-B3F6-2AF6ABA7ACCF}"/>
    <dgm:cxn modelId="{55F71AE3-8299-6F49-A042-5136175618C2}" srcId="{5646F266-2D4D-FD46-AF7A-A86525469ABA}" destId="{FB4F511E-4FF6-4A49-AF98-DB59A4CFB948}" srcOrd="1" destOrd="0" parTransId="{71D0377B-6B5D-A641-9C24-7CF1D9D99D12}" sibTransId="{8CBD04F3-ACB5-FA41-8183-E0BF8B52ECFA}"/>
    <dgm:cxn modelId="{04E75FFA-5FDD-7B43-AB8B-668B4F0B17EB}" srcId="{722CB595-2EEF-AC4F-A6C4-20A6E2DA627A}" destId="{CCD9A903-A7F2-BC47-AD6F-50D1DEC0D425}" srcOrd="1" destOrd="0" parTransId="{915C908C-0C0D-8141-8DFF-72F7ECFDA028}" sibTransId="{5B803918-9505-B44A-A3D0-0295AB52420E}"/>
    <dgm:cxn modelId="{D9289422-DF79-1C4A-92F6-4B8CE874DBE8}" type="presParOf" srcId="{0E9CBE9C-2D64-574E-AEE6-CF2BE4D77196}" destId="{CEB69393-39FA-A940-A25B-E5F86EEE7607}" srcOrd="0" destOrd="0" presId="urn:microsoft.com/office/officeart/2005/8/layout/lProcess3"/>
    <dgm:cxn modelId="{ED13AC79-647E-114B-96FE-ED328C675F6D}" type="presParOf" srcId="{CEB69393-39FA-A940-A25B-E5F86EEE7607}" destId="{C5E3CCB3-0BC1-AF4B-8EAC-F10248613508}" srcOrd="0" destOrd="0" presId="urn:microsoft.com/office/officeart/2005/8/layout/lProcess3"/>
    <dgm:cxn modelId="{FEE4AA07-30BE-1D4B-B65E-32FAEFBFFB32}" type="presParOf" srcId="{CEB69393-39FA-A940-A25B-E5F86EEE7607}" destId="{E089EC99-634C-AE49-ADBD-8B10A6D1F004}" srcOrd="1" destOrd="0" presId="urn:microsoft.com/office/officeart/2005/8/layout/lProcess3"/>
    <dgm:cxn modelId="{7B225C5B-3884-974B-9975-EAB73E8565CD}" type="presParOf" srcId="{CEB69393-39FA-A940-A25B-E5F86EEE7607}" destId="{20E52258-4FF7-304B-9AEB-2668DA35E9B1}" srcOrd="2" destOrd="0" presId="urn:microsoft.com/office/officeart/2005/8/layout/lProcess3"/>
    <dgm:cxn modelId="{09172E3A-D937-B54F-AEE1-ADFB1842AE7F}" type="presParOf" srcId="{CEB69393-39FA-A940-A25B-E5F86EEE7607}" destId="{BFA4682F-B233-7547-88D0-6C525CEC3A0A}" srcOrd="3" destOrd="0" presId="urn:microsoft.com/office/officeart/2005/8/layout/lProcess3"/>
    <dgm:cxn modelId="{6CB162F2-4C0A-3B49-8EFC-953592773409}" type="presParOf" srcId="{CEB69393-39FA-A940-A25B-E5F86EEE7607}" destId="{E1B57658-D8BF-F443-84C1-22E352EDE6B0}" srcOrd="4" destOrd="0" presId="urn:microsoft.com/office/officeart/2005/8/layout/lProcess3"/>
    <dgm:cxn modelId="{04F90C07-A53A-E445-B4AF-386240693B90}" type="presParOf" srcId="{0E9CBE9C-2D64-574E-AEE6-CF2BE4D77196}" destId="{083FC078-3ACF-EE4E-916F-C7A4A2CAE754}" srcOrd="1" destOrd="0" presId="urn:microsoft.com/office/officeart/2005/8/layout/lProcess3"/>
    <dgm:cxn modelId="{1F47A235-5190-9D43-BA0F-CC7263DED917}" type="presParOf" srcId="{0E9CBE9C-2D64-574E-AEE6-CF2BE4D77196}" destId="{EBE9218C-B84C-B44D-83C5-06B735EDEBCF}" srcOrd="2" destOrd="0" presId="urn:microsoft.com/office/officeart/2005/8/layout/lProcess3"/>
    <dgm:cxn modelId="{77ABEF6A-42BB-5941-8D70-6EAED26B6C22}" type="presParOf" srcId="{EBE9218C-B84C-B44D-83C5-06B735EDEBCF}" destId="{029D911B-73AD-F547-A0A7-C406F6EE2CEC}" srcOrd="0" destOrd="0" presId="urn:microsoft.com/office/officeart/2005/8/layout/lProcess3"/>
    <dgm:cxn modelId="{CC19CC3F-3802-2A47-B269-61AE288D5100}" type="presParOf" srcId="{EBE9218C-B84C-B44D-83C5-06B735EDEBCF}" destId="{74E66A93-8C7E-1A40-9A5E-D80E31B558A4}" srcOrd="1" destOrd="0" presId="urn:microsoft.com/office/officeart/2005/8/layout/lProcess3"/>
    <dgm:cxn modelId="{7F42EFD1-305E-4F4B-A898-E260D5A42F75}" type="presParOf" srcId="{EBE9218C-B84C-B44D-83C5-06B735EDEBCF}" destId="{9B4B63C0-F38B-B542-8461-579A7F67A84F}" srcOrd="2" destOrd="0" presId="urn:microsoft.com/office/officeart/2005/8/layout/lProcess3"/>
    <dgm:cxn modelId="{B4A91735-BB81-6747-BE48-2091127E70F0}" type="presParOf" srcId="{EBE9218C-B84C-B44D-83C5-06B735EDEBCF}" destId="{94B3C479-747D-B44F-9DAB-EFC11B0D7BD9}" srcOrd="3" destOrd="0" presId="urn:microsoft.com/office/officeart/2005/8/layout/lProcess3"/>
    <dgm:cxn modelId="{900B1D7C-B4EE-F149-BCA4-D6CA0A8D0D50}" type="presParOf" srcId="{EBE9218C-B84C-B44D-83C5-06B735EDEBCF}" destId="{E796E65B-6761-2E4C-8179-24E99DFCB0B3}" srcOrd="4" destOrd="0" presId="urn:microsoft.com/office/officeart/2005/8/layout/lProcess3"/>
    <dgm:cxn modelId="{75A1568A-CA88-0A49-9124-0FBCA8817E3D}" type="presParOf" srcId="{0E9CBE9C-2D64-574E-AEE6-CF2BE4D77196}" destId="{4F8325AE-FAAF-8543-A6C0-A510FB49F8A9}" srcOrd="3" destOrd="0" presId="urn:microsoft.com/office/officeart/2005/8/layout/lProcess3"/>
    <dgm:cxn modelId="{E57D6772-4ACD-4440-8A32-40A4401A1C6E}" type="presParOf" srcId="{0E9CBE9C-2D64-574E-AEE6-CF2BE4D77196}" destId="{5ECA4D4D-83AF-274D-9E18-D7DFCCBDC296}" srcOrd="4" destOrd="0" presId="urn:microsoft.com/office/officeart/2005/8/layout/lProcess3"/>
    <dgm:cxn modelId="{FE814599-230C-E141-A117-2E5E8B1597C7}" type="presParOf" srcId="{5ECA4D4D-83AF-274D-9E18-D7DFCCBDC296}" destId="{A7C0EE00-F7C6-D044-906A-AD16F19A789D}" srcOrd="0" destOrd="0" presId="urn:microsoft.com/office/officeart/2005/8/layout/lProcess3"/>
    <dgm:cxn modelId="{8F5320A3-1286-874B-86AB-50FC42E79A74}" type="presParOf" srcId="{5ECA4D4D-83AF-274D-9E18-D7DFCCBDC296}" destId="{C31216F7-2493-BE4C-BD0C-78BA866F5EC9}" srcOrd="1" destOrd="0" presId="urn:microsoft.com/office/officeart/2005/8/layout/lProcess3"/>
    <dgm:cxn modelId="{C6C9934E-1F8A-3742-8FD0-421ECFF46C6D}" type="presParOf" srcId="{5ECA4D4D-83AF-274D-9E18-D7DFCCBDC296}" destId="{36DA82F4-E513-0941-8EF9-BEEBD5F7B143}" srcOrd="2" destOrd="0" presId="urn:microsoft.com/office/officeart/2005/8/layout/lProcess3"/>
    <dgm:cxn modelId="{3E72EBE5-7859-4F43-85AA-51730D6E1F0E}" type="presParOf" srcId="{5ECA4D4D-83AF-274D-9E18-D7DFCCBDC296}" destId="{2C51EF5A-F4B0-604C-B251-E629BB47BA91}" srcOrd="3" destOrd="0" presId="urn:microsoft.com/office/officeart/2005/8/layout/lProcess3"/>
    <dgm:cxn modelId="{8FAD53AC-16EB-FB42-A5BF-FE7601E72220}" type="presParOf" srcId="{5ECA4D4D-83AF-274D-9E18-D7DFCCBDC296}" destId="{52B86B82-20A2-8944-8934-5D590ABF1A02}" srcOrd="4"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CD0E9E-4235-C145-AB92-045EC8100009}">
      <dsp:nvSpPr>
        <dsp:cNvPr id="0" name=""/>
        <dsp:cNvSpPr/>
      </dsp:nvSpPr>
      <dsp:spPr>
        <a:xfrm>
          <a:off x="1234115" y="317022"/>
          <a:ext cx="3800449" cy="3800449"/>
        </a:xfrm>
        <a:prstGeom prst="pie">
          <a:avLst>
            <a:gd name="adj1" fmla="val 16200000"/>
            <a:gd name="adj2" fmla="val 1800000"/>
          </a:avLst>
        </a:prstGeom>
        <a:solidFill>
          <a:schemeClr val="dk2">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a:t>
          </a:r>
        </a:p>
      </dsp:txBody>
      <dsp:txXfrm>
        <a:off x="3300384" y="1018296"/>
        <a:ext cx="1289438" cy="1266816"/>
      </dsp:txXfrm>
    </dsp:sp>
    <dsp:sp modelId="{2AB4BE43-80DD-844B-AAA9-2C69B9F24FDD}">
      <dsp:nvSpPr>
        <dsp:cNvPr id="0" name=""/>
        <dsp:cNvSpPr/>
      </dsp:nvSpPr>
      <dsp:spPr>
        <a:xfrm>
          <a:off x="1038211" y="418501"/>
          <a:ext cx="3800449" cy="3800449"/>
        </a:xfrm>
        <a:prstGeom prst="pie">
          <a:avLst>
            <a:gd name="adj1" fmla="val 1800000"/>
            <a:gd name="adj2" fmla="val 9000000"/>
          </a:avLst>
        </a:prstGeom>
        <a:solidFill>
          <a:schemeClr val="tx2">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 2</a:t>
          </a:r>
        </a:p>
      </dsp:txBody>
      <dsp:txXfrm>
        <a:off x="2078810" y="2816404"/>
        <a:ext cx="1719251" cy="1176329"/>
      </dsp:txXfrm>
    </dsp:sp>
    <dsp:sp modelId="{3C7E195E-EAF2-534E-84B4-07089ADDB3D6}">
      <dsp:nvSpPr>
        <dsp:cNvPr id="0" name=""/>
        <dsp:cNvSpPr/>
      </dsp:nvSpPr>
      <dsp:spPr>
        <a:xfrm>
          <a:off x="1038211" y="418501"/>
          <a:ext cx="3800449" cy="3800449"/>
        </a:xfrm>
        <a:prstGeom prst="pie">
          <a:avLst>
            <a:gd name="adj1" fmla="val 9000000"/>
            <a:gd name="adj2" fmla="val 16200000"/>
          </a:avLst>
        </a:prstGeom>
        <a:solidFill>
          <a:schemeClr val="tx2">
            <a:lumMod val="40000"/>
            <a:lumOff val="6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 3</a:t>
          </a:r>
        </a:p>
      </dsp:txBody>
      <dsp:txXfrm>
        <a:off x="1445402" y="1165018"/>
        <a:ext cx="1289438" cy="12668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E3CCB3-0BC1-AF4B-8EAC-F10248613508}">
      <dsp:nvSpPr>
        <dsp:cNvPr id="0" name=""/>
        <dsp:cNvSpPr/>
      </dsp:nvSpPr>
      <dsp:spPr>
        <a:xfrm>
          <a:off x="1384" y="504514"/>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504514"/>
        <a:ext cx="1283698" cy="855798"/>
      </dsp:txXfrm>
    </dsp:sp>
    <dsp:sp modelId="{20E52258-4FF7-304B-9AEB-2668DA35E9B1}">
      <dsp:nvSpPr>
        <dsp:cNvPr id="0" name=""/>
        <dsp:cNvSpPr/>
      </dsp:nvSpPr>
      <dsp:spPr>
        <a:xfrm>
          <a:off x="1862746" y="577257"/>
          <a:ext cx="1775781" cy="710312"/>
        </a:xfrm>
        <a:prstGeom prst="chevron">
          <a:avLst/>
        </a:prstGeom>
        <a:solidFill>
          <a:schemeClr val="accent2">
            <a:alpha val="90000"/>
          </a:schemeClr>
        </a:solidFill>
        <a:ln w="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577257"/>
        <a:ext cx="1065469" cy="710312"/>
      </dsp:txXfrm>
    </dsp:sp>
    <dsp:sp modelId="{E1B57658-D8BF-F443-84C1-22E352EDE6B0}">
      <dsp:nvSpPr>
        <dsp:cNvPr id="0" name=""/>
        <dsp:cNvSpPr/>
      </dsp:nvSpPr>
      <dsp:spPr>
        <a:xfrm>
          <a:off x="3389918" y="57725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577257"/>
        <a:ext cx="1065469" cy="710312"/>
      </dsp:txXfrm>
    </dsp:sp>
    <dsp:sp modelId="{029D911B-73AD-F547-A0A7-C406F6EE2CEC}">
      <dsp:nvSpPr>
        <dsp:cNvPr id="0" name=""/>
        <dsp:cNvSpPr/>
      </dsp:nvSpPr>
      <dsp:spPr>
        <a:xfrm>
          <a:off x="1384" y="1480124"/>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1480124"/>
        <a:ext cx="1283698" cy="855798"/>
      </dsp:txXfrm>
    </dsp:sp>
    <dsp:sp modelId="{9B4B63C0-F38B-B542-8461-579A7F67A84F}">
      <dsp:nvSpPr>
        <dsp:cNvPr id="0" name=""/>
        <dsp:cNvSpPr/>
      </dsp:nvSpPr>
      <dsp:spPr>
        <a:xfrm>
          <a:off x="1862746" y="1552867"/>
          <a:ext cx="1775781" cy="710312"/>
        </a:xfrm>
        <a:prstGeom prst="chevron">
          <a:avLst/>
        </a:prstGeom>
        <a:solidFill>
          <a:schemeClr val="accent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1552867"/>
        <a:ext cx="1065469" cy="710312"/>
      </dsp:txXfrm>
    </dsp:sp>
    <dsp:sp modelId="{E796E65B-6761-2E4C-8179-24E99DFCB0B3}">
      <dsp:nvSpPr>
        <dsp:cNvPr id="0" name=""/>
        <dsp:cNvSpPr/>
      </dsp:nvSpPr>
      <dsp:spPr>
        <a:xfrm>
          <a:off x="3389918" y="155286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1552867"/>
        <a:ext cx="1065469" cy="710312"/>
      </dsp:txXfrm>
    </dsp:sp>
    <dsp:sp modelId="{A7C0EE00-F7C6-D044-906A-AD16F19A789D}">
      <dsp:nvSpPr>
        <dsp:cNvPr id="0" name=""/>
        <dsp:cNvSpPr/>
      </dsp:nvSpPr>
      <dsp:spPr>
        <a:xfrm>
          <a:off x="1384" y="2455735"/>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2455735"/>
        <a:ext cx="1283698" cy="855798"/>
      </dsp:txXfrm>
    </dsp:sp>
    <dsp:sp modelId="{36DA82F4-E513-0941-8EF9-BEEBD5F7B143}">
      <dsp:nvSpPr>
        <dsp:cNvPr id="0" name=""/>
        <dsp:cNvSpPr/>
      </dsp:nvSpPr>
      <dsp:spPr>
        <a:xfrm>
          <a:off x="1862746" y="2528477"/>
          <a:ext cx="1775781" cy="710312"/>
        </a:xfrm>
        <a:prstGeom prst="chevron">
          <a:avLst/>
        </a:prstGeom>
        <a:solidFill>
          <a:schemeClr val="accent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2528477"/>
        <a:ext cx="1065469" cy="710312"/>
      </dsp:txXfrm>
    </dsp:sp>
    <dsp:sp modelId="{52B86B82-20A2-8944-8934-5D590ABF1A02}">
      <dsp:nvSpPr>
        <dsp:cNvPr id="0" name=""/>
        <dsp:cNvSpPr/>
      </dsp:nvSpPr>
      <dsp:spPr>
        <a:xfrm>
          <a:off x="3389918" y="252847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2528477"/>
        <a:ext cx="1065469" cy="710312"/>
      </dsp:txXfrm>
    </dsp:sp>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CDD0D60A-29CD-4214-BA03-8F01AD89C684}" type="datetimeFigureOut">
              <a:rPr lang="en-US" smtClean="0"/>
              <a:t>4/1/2025</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3EEF3B8A-BEEF-46C9-BB4D-783040146A89}" type="slidenum">
              <a:rPr lang="en-US" smtClean="0"/>
              <a:t>‹#›</a:t>
            </a:fld>
            <a:endParaRPr lang="en-US"/>
          </a:p>
        </p:txBody>
      </p:sp>
    </p:spTree>
    <p:extLst>
      <p:ext uri="{BB962C8B-B14F-4D97-AF65-F5344CB8AC3E}">
        <p14:creationId xmlns:p14="http://schemas.microsoft.com/office/powerpoint/2010/main" val="37976614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68F244-8BAD-24D3-C329-CEEB5A374F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846084-E4C9-0B6F-F7BF-5F48293F40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BD7003-7169-BE94-B248-55FDE0B0235D}"/>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D80E604B-88F0-AC1E-4C47-9EDCD31EA138}"/>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1CB72352-9089-8649-75C6-D8E5278C6C8E}"/>
              </a:ext>
            </a:extLst>
          </p:cNvPr>
          <p:cNvSpPr>
            <a:spLocks noGrp="1"/>
          </p:cNvSpPr>
          <p:nvPr>
            <p:ph type="ftr" sz="quarter" idx="4"/>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21BE6B6-6135-A608-BD5E-480984F9B060}"/>
              </a:ext>
            </a:extLst>
          </p:cNvPr>
          <p:cNvSpPr>
            <a:spLocks noGrp="1"/>
          </p:cNvSpPr>
          <p:nvPr>
            <p:ph type="dt" idx="1"/>
          </p:nvPr>
        </p:nvSpPr>
        <p:spPr/>
        <p:txBody>
          <a:bodyPr/>
          <a:lstStyle/>
          <a:p>
            <a:fld id="{38EEC551-8CDA-4EB6-89BB-2A86C9F091C8}" type="datetime8">
              <a:rPr lang="en-US" smtClean="0"/>
              <a:t>4/1/2025 12:16 PM</a:t>
            </a:fld>
            <a:endParaRPr lang="en-US"/>
          </a:p>
        </p:txBody>
      </p:sp>
      <p:sp>
        <p:nvSpPr>
          <p:cNvPr id="7" name="Slide Number Placeholder 6">
            <a:extLst>
              <a:ext uri="{FF2B5EF4-FFF2-40B4-BE49-F238E27FC236}">
                <a16:creationId xmlns:a16="http://schemas.microsoft.com/office/drawing/2014/main" id="{C4335A9F-0651-DABF-01FD-FDDEA68749D7}"/>
              </a:ext>
            </a:extLst>
          </p:cNvPr>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33463246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901BE5-0149-F52C-334A-385510ECDD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FA4A9D-CADF-83F7-8C93-00192548C4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DC291D-C674-99CB-5131-039100107380}"/>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1F97E516-3842-7393-1F5B-DBFA12DF7263}"/>
              </a:ext>
            </a:extLst>
          </p:cNvPr>
          <p:cNvSpPr>
            <a:spLocks noGrp="1"/>
          </p:cNvSpPr>
          <p:nvPr>
            <p:ph type="hdr" sz="quarter"/>
          </p:nvPr>
        </p:nvSpPr>
        <p:spPr/>
        <p:txBody>
          <a:bodyPr/>
          <a:lstStyle/>
          <a:p>
            <a:endParaRPr lang="en-US"/>
          </a:p>
        </p:txBody>
      </p:sp>
      <p:sp>
        <p:nvSpPr>
          <p:cNvPr id="5" name="Footer Placeholder 4">
            <a:extLst>
              <a:ext uri="{FF2B5EF4-FFF2-40B4-BE49-F238E27FC236}">
                <a16:creationId xmlns:a16="http://schemas.microsoft.com/office/drawing/2014/main" id="{03A23B00-3078-0485-1A3C-80C34BC2FADA}"/>
              </a:ext>
            </a:extLst>
          </p:cNvPr>
          <p:cNvSpPr>
            <a:spLocks noGrp="1"/>
          </p:cNvSpPr>
          <p:nvPr>
            <p:ph type="ftr" sz="quarter" idx="4"/>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1373482D-7318-5061-5F60-4698BF96A76A}"/>
              </a:ext>
            </a:extLst>
          </p:cNvPr>
          <p:cNvSpPr>
            <a:spLocks noGrp="1"/>
          </p:cNvSpPr>
          <p:nvPr>
            <p:ph type="dt" idx="1"/>
          </p:nvPr>
        </p:nvSpPr>
        <p:spPr/>
        <p:txBody>
          <a:bodyPr/>
          <a:lstStyle/>
          <a:p>
            <a:fld id="{38EEC551-8CDA-4EB6-89BB-2A86C9F091C8}" type="datetime8">
              <a:rPr lang="en-US" smtClean="0"/>
              <a:t>4/1/2025 12:50 PM</a:t>
            </a:fld>
            <a:endParaRPr lang="en-US"/>
          </a:p>
        </p:txBody>
      </p:sp>
      <p:sp>
        <p:nvSpPr>
          <p:cNvPr id="7" name="Slide Number Placeholder 6">
            <a:extLst>
              <a:ext uri="{FF2B5EF4-FFF2-40B4-BE49-F238E27FC236}">
                <a16:creationId xmlns:a16="http://schemas.microsoft.com/office/drawing/2014/main" id="{B058B084-783C-3674-B17A-AB057EDB83CF}"/>
              </a:ext>
            </a:extLst>
          </p:cNvPr>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19491093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Master" Target="../slideMasters/slideMaster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1.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Walkin slide">
    <p:bg>
      <p:bgPr>
        <a:blipFill dpi="0" rotWithShape="1">
          <a:blip r:embed="rId2">
            <a:lum/>
          </a:blip>
          <a:srcRect/>
          <a:stretch>
            <a:fillRect l="-5000" r="-5000"/>
          </a:stretch>
        </a:blip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9CFC0D3D-31F1-39A9-7186-66397F25884B}"/>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accent1"/>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3" name="Title 1">
            <a:extLst>
              <a:ext uri="{FF2B5EF4-FFF2-40B4-BE49-F238E27FC236}">
                <a16:creationId xmlns:a16="http://schemas.microsoft.com/office/drawing/2014/main" id="{94D2F92D-2232-B825-2B2D-AC671306A0B0}"/>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dirty="0"/>
              <a:t>CLICK TO EDIT </a:t>
            </a:r>
            <a:br>
              <a:rPr lang="en-US" dirty="0"/>
            </a:br>
            <a:r>
              <a:rPr lang="en-US" dirty="0"/>
              <a:t>TITLE STYLE</a:t>
            </a:r>
          </a:p>
        </p:txBody>
      </p:sp>
      <p:pic>
        <p:nvPicPr>
          <p:cNvPr id="4" name="Picture 3">
            <a:extLst>
              <a:ext uri="{FF2B5EF4-FFF2-40B4-BE49-F238E27FC236}">
                <a16:creationId xmlns:a16="http://schemas.microsoft.com/office/drawing/2014/main" id="{972C56C5-2F0E-B13F-6B45-D0F73E9B1AB2}"/>
              </a:ext>
            </a:extLst>
          </p:cNvPr>
          <p:cNvPicPr preferRelativeResize="0">
            <a:picLocks noChangeAspect="1"/>
          </p:cNvPicPr>
          <p:nvPr/>
        </p:nvPicPr>
        <p:blipFill>
          <a:blip r:embed="rId3"/>
          <a:srcRect/>
          <a:stretch/>
        </p:blipFill>
        <p:spPr>
          <a:xfrm>
            <a:off x="9881671" y="5542750"/>
            <a:ext cx="1753208" cy="864916"/>
          </a:xfrm>
          <a:prstGeom prst="rect">
            <a:avLst/>
          </a:prstGeom>
        </p:spPr>
      </p:pic>
    </p:spTree>
    <p:extLst>
      <p:ext uri="{BB962C8B-B14F-4D97-AF65-F5344CB8AC3E}">
        <p14:creationId xmlns:p14="http://schemas.microsoft.com/office/powerpoint/2010/main" val="271709599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with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STYLE</a:t>
            </a:r>
          </a:p>
        </p:txBody>
      </p:sp>
      <p:sp>
        <p:nvSpPr>
          <p:cNvPr id="6" name="Picture Placeholder 5"/>
          <p:cNvSpPr>
            <a:spLocks noGrp="1"/>
          </p:cNvSpPr>
          <p:nvPr>
            <p:ph type="pic" sz="quarter" idx="12"/>
          </p:nvPr>
        </p:nvSpPr>
        <p:spPr>
          <a:xfrm>
            <a:off x="6312126" y="1744133"/>
            <a:ext cx="5300133" cy="533480"/>
          </a:xfrm>
        </p:spPr>
        <p:txBody>
          <a:bodyPr/>
          <a:lstStyle/>
          <a:p>
            <a:r>
              <a:rPr lang="en-US"/>
              <a:t>Click icon to add picture</a:t>
            </a:r>
          </a:p>
        </p:txBody>
      </p:sp>
      <p:sp>
        <p:nvSpPr>
          <p:cNvPr id="4" name="Content Placeholder 7">
            <a:extLst>
              <a:ext uri="{FF2B5EF4-FFF2-40B4-BE49-F238E27FC236}">
                <a16:creationId xmlns:a16="http://schemas.microsoft.com/office/drawing/2014/main" id="{406E4740-29FB-D70A-8FD0-D37379CFCD0D}"/>
              </a:ext>
            </a:extLst>
          </p:cNvPr>
          <p:cNvSpPr>
            <a:spLocks noGrp="1"/>
          </p:cNvSpPr>
          <p:nvPr>
            <p:ph sz="quarter" idx="11" hasCustomPrompt="1"/>
          </p:nvPr>
        </p:nvSpPr>
        <p:spPr>
          <a:xfrm>
            <a:off x="609601" y="1744134"/>
            <a:ext cx="5270276"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813579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327B15-003C-B57F-47CD-422B701435E3}"/>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123395989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CC5F2F5B-6F0D-D207-EBEE-C1FD4E77DD29}"/>
              </a:ext>
            </a:extLst>
          </p:cNvPr>
          <p:cNvSpPr>
            <a:spLocks noGrp="1"/>
          </p:cNvSpPr>
          <p:nvPr>
            <p:ph type="body" sz="quarter" idx="13"/>
          </p:nvPr>
        </p:nvSpPr>
        <p:spPr>
          <a:xfrm>
            <a:off x="288974" y="5822909"/>
            <a:ext cx="1220513" cy="646331"/>
          </a:xfrm>
        </p:spPr>
        <p:txBody>
          <a:bodyPr wrap="square">
            <a:spAutoFit/>
          </a:bodyPr>
          <a:lstStyle>
            <a:lvl1pPr>
              <a:lnSpc>
                <a:spcPct val="100000"/>
              </a:lnSpc>
              <a:defRPr sz="1200"/>
            </a:lvl1pPr>
          </a:lstStyle>
          <a:p>
            <a:pPr lvl="0"/>
            <a:r>
              <a:rPr lang="en-US"/>
              <a:t>Click to edit Master text styles</a:t>
            </a:r>
          </a:p>
        </p:txBody>
      </p:sp>
      <p:sp>
        <p:nvSpPr>
          <p:cNvPr id="3" name="Picture Placeholder 2">
            <a:extLst>
              <a:ext uri="{FF2B5EF4-FFF2-40B4-BE49-F238E27FC236}">
                <a16:creationId xmlns:a16="http://schemas.microsoft.com/office/drawing/2014/main" id="{905B892A-4F81-3DE8-DAB9-C9ACD1E4B2D0}"/>
              </a:ext>
            </a:extLst>
          </p:cNvPr>
          <p:cNvSpPr>
            <a:spLocks noGrp="1"/>
          </p:cNvSpPr>
          <p:nvPr>
            <p:ph type="pic" sz="quarter" idx="14"/>
          </p:nvPr>
        </p:nvSpPr>
        <p:spPr>
          <a:xfrm>
            <a:off x="2370667" y="0"/>
            <a:ext cx="9821333" cy="532262"/>
          </a:xfrm>
        </p:spPr>
        <p:txBody>
          <a:bodyPr/>
          <a:lstStyle/>
          <a:p>
            <a:r>
              <a:rPr lang="en-US"/>
              <a:t>Click icon to add picture</a:t>
            </a:r>
          </a:p>
        </p:txBody>
      </p:sp>
    </p:spTree>
    <p:extLst>
      <p:ext uri="{BB962C8B-B14F-4D97-AF65-F5344CB8AC3E}">
        <p14:creationId xmlns:p14="http://schemas.microsoft.com/office/powerpoint/2010/main" val="363549267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amp;A 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1EFCB-4C82-A339-B669-A9027A837A2D}"/>
              </a:ext>
            </a:extLst>
          </p:cNvPr>
          <p:cNvSpPr>
            <a:spLocks noGrp="1"/>
          </p:cNvSpPr>
          <p:nvPr>
            <p:ph type="title" hasCustomPrompt="1"/>
          </p:nvPr>
        </p:nvSpPr>
        <p:spPr/>
        <p:txBody>
          <a:bodyPr/>
          <a:lstStyle/>
          <a:p>
            <a:r>
              <a:rPr lang="en-US"/>
              <a:t>CLICK TO EDIT TITLE STYLE</a:t>
            </a:r>
          </a:p>
        </p:txBody>
      </p:sp>
      <p:graphicFrame>
        <p:nvGraphicFramePr>
          <p:cNvPr id="10" name="Diagram 9">
            <a:extLst>
              <a:ext uri="{FF2B5EF4-FFF2-40B4-BE49-F238E27FC236}">
                <a16:creationId xmlns:a16="http://schemas.microsoft.com/office/drawing/2014/main" id="{D312C4B4-B845-2F7B-EA82-0FB934802AD8}"/>
              </a:ext>
            </a:extLst>
          </p:cNvPr>
          <p:cNvGraphicFramePr/>
          <p:nvPr>
            <p:extLst>
              <p:ext uri="{D42A27DB-BD31-4B8C-83A1-F6EECF244321}">
                <p14:modId xmlns:p14="http://schemas.microsoft.com/office/powerpoint/2010/main" val="3598082327"/>
              </p:ext>
            </p:extLst>
          </p:nvPr>
        </p:nvGraphicFramePr>
        <p:xfrm>
          <a:off x="5724434" y="1257356"/>
          <a:ext cx="6072777" cy="45243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Content Placeholder 7">
            <a:extLst>
              <a:ext uri="{FF2B5EF4-FFF2-40B4-BE49-F238E27FC236}">
                <a16:creationId xmlns:a16="http://schemas.microsoft.com/office/drawing/2014/main" id="{6EEF7E41-47AD-7303-E02A-CD4A30B4D13F}"/>
              </a:ext>
            </a:extLst>
          </p:cNvPr>
          <p:cNvSpPr>
            <a:spLocks noGrp="1"/>
          </p:cNvSpPr>
          <p:nvPr>
            <p:ph sz="quarter" idx="11" hasCustomPrompt="1"/>
          </p:nvPr>
        </p:nvSpPr>
        <p:spPr>
          <a:xfrm>
            <a:off x="609601" y="1744134"/>
            <a:ext cx="5590903"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886848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Q&amp;A 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1EFCB-4C82-A339-B669-A9027A837A2D}"/>
              </a:ext>
            </a:extLst>
          </p:cNvPr>
          <p:cNvSpPr>
            <a:spLocks noGrp="1"/>
          </p:cNvSpPr>
          <p:nvPr>
            <p:ph type="title" hasCustomPrompt="1"/>
          </p:nvPr>
        </p:nvSpPr>
        <p:spPr/>
        <p:txBody>
          <a:bodyPr/>
          <a:lstStyle/>
          <a:p>
            <a:r>
              <a:rPr lang="en-US"/>
              <a:t>CLICK TO EDIT TITLE STYLE</a:t>
            </a:r>
          </a:p>
        </p:txBody>
      </p:sp>
      <p:sp>
        <p:nvSpPr>
          <p:cNvPr id="12" name="Content Placeholder 7">
            <a:extLst>
              <a:ext uri="{FF2B5EF4-FFF2-40B4-BE49-F238E27FC236}">
                <a16:creationId xmlns:a16="http://schemas.microsoft.com/office/drawing/2014/main" id="{6EEF7E41-47AD-7303-E02A-CD4A30B4D13F}"/>
              </a:ext>
            </a:extLst>
          </p:cNvPr>
          <p:cNvSpPr>
            <a:spLocks noGrp="1"/>
          </p:cNvSpPr>
          <p:nvPr>
            <p:ph sz="quarter" idx="11" hasCustomPrompt="1"/>
          </p:nvPr>
        </p:nvSpPr>
        <p:spPr>
          <a:xfrm>
            <a:off x="609601" y="1744134"/>
            <a:ext cx="5167087"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4" name="Diagram 3">
            <a:extLst>
              <a:ext uri="{FF2B5EF4-FFF2-40B4-BE49-F238E27FC236}">
                <a16:creationId xmlns:a16="http://schemas.microsoft.com/office/drawing/2014/main" id="{13267443-BE8B-FA53-1AAE-287C5FE6B123}"/>
              </a:ext>
            </a:extLst>
          </p:cNvPr>
          <p:cNvGraphicFramePr/>
          <p:nvPr>
            <p:extLst>
              <p:ext uri="{D42A27DB-BD31-4B8C-83A1-F6EECF244321}">
                <p14:modId xmlns:p14="http://schemas.microsoft.com/office/powerpoint/2010/main" val="305424591"/>
              </p:ext>
            </p:extLst>
          </p:nvPr>
        </p:nvGraphicFramePr>
        <p:xfrm>
          <a:off x="6200503" y="1257355"/>
          <a:ext cx="5167085" cy="38160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495515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Q&amp;A Gold">
    <p:bg>
      <p:bgPr>
        <a:solidFill>
          <a:schemeClr val="bg1"/>
        </a:solidFill>
        <a:effectLst/>
      </p:bgPr>
    </p:bg>
    <p:spTree>
      <p:nvGrpSpPr>
        <p:cNvPr id="1" name=""/>
        <p:cNvGrpSpPr/>
        <p:nvPr/>
      </p:nvGrpSpPr>
      <p:grpSpPr>
        <a:xfrm>
          <a:off x="0" y="0"/>
          <a:ext cx="0" cy="0"/>
          <a:chOff x="0" y="0"/>
          <a:chExt cx="0" cy="0"/>
        </a:xfrm>
      </p:grpSpPr>
      <p:sp>
        <p:nvSpPr>
          <p:cNvPr id="3" name="Content Placeholder 12">
            <a:extLst>
              <a:ext uri="{FF2B5EF4-FFF2-40B4-BE49-F238E27FC236}">
                <a16:creationId xmlns:a16="http://schemas.microsoft.com/office/drawing/2014/main" id="{2A43680B-0C4E-035C-8289-47EE40A3E9E9}"/>
              </a:ext>
            </a:extLst>
          </p:cNvPr>
          <p:cNvSpPr>
            <a:spLocks noGrp="1"/>
          </p:cNvSpPr>
          <p:nvPr>
            <p:ph sz="quarter" idx="11" hasCustomPrompt="1"/>
          </p:nvPr>
        </p:nvSpPr>
        <p:spPr>
          <a:xfrm>
            <a:off x="586595" y="1966666"/>
            <a:ext cx="9414933" cy="1990288"/>
          </a:xfrm>
        </p:spPr>
        <p:txBody>
          <a:bodyPr/>
          <a:lstStyle>
            <a:lvl1pPr marL="0" marR="0" indent="0" algn="l" defTabSz="609585" rtl="0" eaLnBrk="1" fontAlgn="base" latinLnBrk="0" hangingPunct="1">
              <a:lnSpc>
                <a:spcPct val="100000"/>
              </a:lnSpc>
              <a:spcBef>
                <a:spcPts val="0"/>
              </a:spcBef>
              <a:spcAft>
                <a:spcPts val="133"/>
              </a:spcAft>
              <a:buClrTx/>
              <a:buSzTx/>
              <a:buFont typeface="Arial"/>
              <a:buNone/>
              <a:tabLst/>
              <a:defRPr sz="2400">
                <a:solidFill>
                  <a:schemeClr val="tx1"/>
                </a:solidFill>
              </a:defRPr>
            </a:lvl1pPr>
          </a:lstStyle>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a:p>
            <a:pPr lvl="0"/>
            <a:endParaRPr lang="en-US"/>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endParaRPr lang="en-US"/>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p:txBody>
      </p:sp>
      <p:sp>
        <p:nvSpPr>
          <p:cNvPr id="4" name="Title 3">
            <a:extLst>
              <a:ext uri="{FF2B5EF4-FFF2-40B4-BE49-F238E27FC236}">
                <a16:creationId xmlns:a16="http://schemas.microsoft.com/office/drawing/2014/main" id="{EF6B5C0D-562C-B668-B0FD-B003E2FB7251}"/>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281680506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hank You_purple">
    <p:bg>
      <p:bgPr>
        <a:solidFill>
          <a:srgbClr val="32006E"/>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B1E3909-C49C-88C9-7739-53611D8906B0}"/>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14806590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1_Thank You_tan">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6C50C3-4866-1537-1649-67A0A4D5C703}"/>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5786482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228132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16" name="Subtitle 2">
            <a:extLst>
              <a:ext uri="{FF2B5EF4-FFF2-40B4-BE49-F238E27FC236}">
                <a16:creationId xmlns:a16="http://schemas.microsoft.com/office/drawing/2014/main" id="{3F81166B-48CD-5841-9CDB-511108A88EC5}"/>
              </a:ext>
            </a:extLst>
          </p:cNvPr>
          <p:cNvSpPr>
            <a:spLocks noGrp="1"/>
          </p:cNvSpPr>
          <p:nvPr>
            <p:ph type="subTitle" idx="1" hasCustomPrompt="1"/>
          </p:nvPr>
        </p:nvSpPr>
        <p:spPr bwMode="gray">
          <a:xfrm>
            <a:off x="475325" y="5122607"/>
            <a:ext cx="2918389" cy="914400"/>
          </a:xfrm>
          <a:prstGeom prst="rect">
            <a:avLst/>
          </a:prstGeom>
        </p:spPr>
        <p:txBody>
          <a:bodyPr lIns="0" tIns="0" rIns="0" bIns="0" anchor="t" anchorCtr="0">
            <a:noAutofit/>
          </a:bodyPr>
          <a:lstStyle>
            <a:lvl1pPr marL="0" indent="0" algn="l">
              <a:lnSpc>
                <a:spcPts val="3200"/>
              </a:lnSpc>
              <a:spcAft>
                <a:spcPts val="0"/>
              </a:spcAft>
              <a:buNone/>
              <a:defRPr sz="3200" b="0" i="0" spc="-50" baseline="0">
                <a:solidFill>
                  <a:schemeClr val="bg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17" name="Text Placeholder 4">
            <a:extLst>
              <a:ext uri="{FF2B5EF4-FFF2-40B4-BE49-F238E27FC236}">
                <a16:creationId xmlns:a16="http://schemas.microsoft.com/office/drawing/2014/main" id="{3240AD5E-C521-7B44-AC13-F2829246A13F}"/>
              </a:ext>
            </a:extLst>
          </p:cNvPr>
          <p:cNvSpPr>
            <a:spLocks noGrp="1"/>
          </p:cNvSpPr>
          <p:nvPr>
            <p:ph type="body" sz="quarter" idx="10"/>
          </p:nvPr>
        </p:nvSpPr>
        <p:spPr>
          <a:xfrm>
            <a:off x="469900" y="6063901"/>
            <a:ext cx="5594349" cy="298451"/>
          </a:xfrm>
          <a:prstGeom prst="rect">
            <a:avLst/>
          </a:prstGeom>
        </p:spPr>
        <p:txBody>
          <a:bodyPr>
            <a:noAutofit/>
          </a:bodyPr>
          <a:lstStyle>
            <a:lvl1pPr>
              <a:spcAft>
                <a:spcPts val="0"/>
              </a:spcAft>
              <a:defRPr sz="1400" b="1"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18" name="Picture Placeholder 8">
            <a:extLst>
              <a:ext uri="{FF2B5EF4-FFF2-40B4-BE49-F238E27FC236}">
                <a16:creationId xmlns:a16="http://schemas.microsoft.com/office/drawing/2014/main" id="{AC8F5DBC-6E93-0C4B-91EB-DF39EE4668E7}"/>
              </a:ext>
            </a:extLst>
          </p:cNvPr>
          <p:cNvSpPr>
            <a:spLocks noGrp="1"/>
          </p:cNvSpPr>
          <p:nvPr>
            <p:ph type="pic" sz="quarter" idx="11"/>
          </p:nvPr>
        </p:nvSpPr>
        <p:spPr>
          <a:xfrm>
            <a:off x="3520965" y="727595"/>
            <a:ext cx="5150071" cy="5152095"/>
          </a:xfrm>
          <a:prstGeom prst="rect">
            <a:avLst/>
          </a:prstGeom>
        </p:spPr>
        <p:txBody>
          <a:bodyPr/>
          <a:lstStyle/>
          <a:p>
            <a:r>
              <a:rPr lang="en-US" noProof="0"/>
              <a:t>Click icon to add picture</a:t>
            </a:r>
          </a:p>
        </p:txBody>
      </p:sp>
      <p:sp>
        <p:nvSpPr>
          <p:cNvPr id="19" name="Text Placeholder 4">
            <a:extLst>
              <a:ext uri="{FF2B5EF4-FFF2-40B4-BE49-F238E27FC236}">
                <a16:creationId xmlns:a16="http://schemas.microsoft.com/office/drawing/2014/main" id="{32EAB23B-951F-4A4D-966C-2FA3EF6CADAA}"/>
              </a:ext>
            </a:extLst>
          </p:cNvPr>
          <p:cNvSpPr>
            <a:spLocks noGrp="1"/>
          </p:cNvSpPr>
          <p:nvPr>
            <p:ph type="body" sz="quarter" idx="12" hasCustomPrompt="1"/>
          </p:nvPr>
        </p:nvSpPr>
        <p:spPr>
          <a:xfrm>
            <a:off x="475324" y="4706605"/>
            <a:ext cx="2918389" cy="416002"/>
          </a:xfrm>
          <a:prstGeom prst="rect">
            <a:avLst/>
          </a:prstGeom>
        </p:spPr>
        <p:txBody>
          <a:bodyPr>
            <a:noAutofit/>
          </a:bodyPr>
          <a:lstStyle>
            <a:lvl1pPr>
              <a:spcAft>
                <a:spcPts val="0"/>
              </a:spcAft>
              <a:defRPr sz="1050" b="0"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November 2018</a:t>
            </a:r>
          </a:p>
        </p:txBody>
      </p:sp>
    </p:spTree>
    <p:extLst>
      <p:ext uri="{BB962C8B-B14F-4D97-AF65-F5344CB8AC3E}">
        <p14:creationId xmlns:p14="http://schemas.microsoft.com/office/powerpoint/2010/main" val="30048603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Walkin slide">
    <p:bg>
      <p:bgPr>
        <a:solidFill>
          <a:srgbClr val="32006E"/>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3EDC79F-91AA-B3FB-6403-6121F91C5FC6}"/>
              </a:ext>
            </a:extLst>
          </p:cNvPr>
          <p:cNvSpPr>
            <a:spLocks noGrp="1"/>
          </p:cNvSpPr>
          <p:nvPr>
            <p:ph type="pic" sz="quarter" idx="10" hasCustomPrompt="1"/>
          </p:nvPr>
        </p:nvSpPr>
        <p:spPr>
          <a:xfrm>
            <a:off x="-7969" y="163926"/>
            <a:ext cx="12192000" cy="532262"/>
          </a:xfrm>
          <a:noFill/>
        </p:spPr>
        <p:txBody>
          <a:bodyPr/>
          <a:lstStyle>
            <a:lvl1pPr>
              <a:defRPr>
                <a:solidFill>
                  <a:schemeClr val="bg1"/>
                </a:solidFill>
              </a:defRPr>
            </a:lvl1pPr>
          </a:lstStyle>
          <a:p>
            <a:r>
              <a:rPr lang="en-US" dirty="0"/>
              <a:t>CLICK ICON TO ADD PICTURE</a:t>
            </a:r>
          </a:p>
        </p:txBody>
      </p:sp>
      <p:sp>
        <p:nvSpPr>
          <p:cNvPr id="2" name="Subtitle 2">
            <a:extLst>
              <a:ext uri="{FF2B5EF4-FFF2-40B4-BE49-F238E27FC236}">
                <a16:creationId xmlns:a16="http://schemas.microsoft.com/office/drawing/2014/main" id="{9CFC0D3D-31F1-39A9-7186-66397F25884B}"/>
              </a:ext>
            </a:extLst>
          </p:cNvPr>
          <p:cNvSpPr>
            <a:spLocks noGrp="1"/>
          </p:cNvSpPr>
          <p:nvPr>
            <p:ph type="subTitle" idx="1" hasCustomPrompt="1"/>
          </p:nvPr>
        </p:nvSpPr>
        <p:spPr>
          <a:xfrm>
            <a:off x="482601" y="2895781"/>
            <a:ext cx="4609352" cy="603584"/>
          </a:xfrm>
          <a:prstGeom prst="rect">
            <a:avLst/>
          </a:prstGeom>
        </p:spPr>
        <p:txBody>
          <a:bodyPr anchor="t" anchorCtr="0"/>
          <a:lstStyle>
            <a:lvl1pPr marL="0" indent="0" algn="l">
              <a:spcBef>
                <a:spcPts val="0"/>
              </a:spcBef>
              <a:spcAft>
                <a:spcPts val="400"/>
              </a:spcAft>
              <a:buNone/>
              <a:defRPr sz="2400" b="1" i="0" spc="0">
                <a:solidFill>
                  <a:schemeClr val="accent1"/>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a:t>
            </a:r>
          </a:p>
        </p:txBody>
      </p:sp>
      <p:sp>
        <p:nvSpPr>
          <p:cNvPr id="3" name="Title 1">
            <a:extLst>
              <a:ext uri="{FF2B5EF4-FFF2-40B4-BE49-F238E27FC236}">
                <a16:creationId xmlns:a16="http://schemas.microsoft.com/office/drawing/2014/main" id="{94D2F92D-2232-B825-2B2D-AC671306A0B0}"/>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dirty="0"/>
              <a:t>CLICK TO EDIT </a:t>
            </a:r>
            <a:br>
              <a:rPr lang="en-US" dirty="0"/>
            </a:br>
            <a:r>
              <a:rPr lang="en-US" dirty="0"/>
              <a:t>TITLE STYLE</a:t>
            </a:r>
          </a:p>
        </p:txBody>
      </p:sp>
      <p:pic>
        <p:nvPicPr>
          <p:cNvPr id="5" name="Picture 4">
            <a:extLst>
              <a:ext uri="{FF2B5EF4-FFF2-40B4-BE49-F238E27FC236}">
                <a16:creationId xmlns:a16="http://schemas.microsoft.com/office/drawing/2014/main" id="{EB21C709-91F3-6CAF-A8BD-E48E13397E4E}"/>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178285181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520965" y="727595"/>
            <a:ext cx="5150071" cy="5152095"/>
          </a:xfrm>
          <a:prstGeom prst="rect">
            <a:avLst/>
          </a:prstGeom>
        </p:spPr>
        <p:txBody>
          <a:bodyPr/>
          <a:lstStyle/>
          <a:p>
            <a:r>
              <a:rPr lang="en-US" noProof="0"/>
              <a:t>Click icon to add picture</a:t>
            </a:r>
          </a:p>
        </p:txBody>
      </p:sp>
      <p:sp>
        <p:nvSpPr>
          <p:cNvPr id="16" name="Subtitle 2">
            <a:extLst>
              <a:ext uri="{FF2B5EF4-FFF2-40B4-BE49-F238E27FC236}">
                <a16:creationId xmlns:a16="http://schemas.microsoft.com/office/drawing/2014/main" id="{FD8C36F0-2A15-5342-90DE-525EBA2AC26A}"/>
              </a:ext>
            </a:extLst>
          </p:cNvPr>
          <p:cNvSpPr>
            <a:spLocks noGrp="1"/>
          </p:cNvSpPr>
          <p:nvPr>
            <p:ph type="subTitle" idx="1" hasCustomPrompt="1"/>
          </p:nvPr>
        </p:nvSpPr>
        <p:spPr bwMode="gray">
          <a:xfrm>
            <a:off x="475325" y="5122608"/>
            <a:ext cx="2918389" cy="914400"/>
          </a:xfrm>
          <a:prstGeom prst="rect">
            <a:avLst/>
          </a:prstGeom>
        </p:spPr>
        <p:txBody>
          <a:bodyPr lIns="0" tIns="0" rIns="0" bIns="0" anchor="t" anchorCtr="0">
            <a:noAutofit/>
          </a:bodyPr>
          <a:lstStyle>
            <a:lvl1pPr marL="0" indent="0" algn="l">
              <a:lnSpc>
                <a:spcPts val="3200"/>
              </a:lnSpc>
              <a:spcAft>
                <a:spcPts val="0"/>
              </a:spcAft>
              <a:buNone/>
              <a:defRPr sz="3200" b="0" i="0" spc="-50" baseline="0">
                <a:solidFill>
                  <a:schemeClr val="tx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18" name="Text Placeholder 4">
            <a:extLst>
              <a:ext uri="{FF2B5EF4-FFF2-40B4-BE49-F238E27FC236}">
                <a16:creationId xmlns:a16="http://schemas.microsoft.com/office/drawing/2014/main" id="{27845BD7-A574-1045-AF58-F805552ABAE6}"/>
              </a:ext>
            </a:extLst>
          </p:cNvPr>
          <p:cNvSpPr>
            <a:spLocks noGrp="1"/>
          </p:cNvSpPr>
          <p:nvPr>
            <p:ph type="body" sz="quarter" idx="12" hasCustomPrompt="1"/>
          </p:nvPr>
        </p:nvSpPr>
        <p:spPr>
          <a:xfrm>
            <a:off x="475324" y="4706605"/>
            <a:ext cx="2918389" cy="389110"/>
          </a:xfrm>
          <a:prstGeom prst="rect">
            <a:avLst/>
          </a:prstGeom>
        </p:spPr>
        <p:txBody>
          <a:bodyPr>
            <a:noAutofit/>
          </a:bodyPr>
          <a:lstStyle>
            <a:lvl1pPr marL="27432">
              <a:spcAft>
                <a:spcPts val="0"/>
              </a:spcAft>
              <a:defRPr sz="1050" b="0" i="0">
                <a:solidFill>
                  <a:schemeClr val="tx1"/>
                </a:solidFill>
                <a:latin typeface="+mn-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Date</a:t>
            </a:r>
          </a:p>
        </p:txBody>
      </p:sp>
      <p:sp>
        <p:nvSpPr>
          <p:cNvPr id="31" name="Text Placeholder 4">
            <a:extLst>
              <a:ext uri="{FF2B5EF4-FFF2-40B4-BE49-F238E27FC236}">
                <a16:creationId xmlns:a16="http://schemas.microsoft.com/office/drawing/2014/main" id="{0EAD2D67-84B4-A04B-9627-D6E8BCCBB0A5}"/>
              </a:ext>
            </a:extLst>
          </p:cNvPr>
          <p:cNvSpPr>
            <a:spLocks noGrp="1"/>
          </p:cNvSpPr>
          <p:nvPr>
            <p:ph type="body" sz="quarter" idx="10"/>
          </p:nvPr>
        </p:nvSpPr>
        <p:spPr>
          <a:xfrm>
            <a:off x="475324" y="6063901"/>
            <a:ext cx="5594349" cy="298451"/>
          </a:xfrm>
          <a:prstGeom prst="rect">
            <a:avLst/>
          </a:prstGeom>
        </p:spPr>
        <p:txBody>
          <a:bodyPr>
            <a:noAutofit/>
          </a:bodyPr>
          <a:lstStyle>
            <a:lvl1pPr>
              <a:spcAft>
                <a:spcPts val="0"/>
              </a:spcAft>
              <a:defRPr sz="1400" b="1" i="0">
                <a:solidFill>
                  <a:schemeClr val="tx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621810127"/>
      </p:ext>
    </p:extLst>
  </p:cSld>
  <p:clrMapOvr>
    <a:masterClrMapping/>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A171472-BFC4-4982-98D6-6AB2407B7753}"/>
              </a:ext>
            </a:extLst>
          </p:cNvPr>
          <p:cNvSpPr>
            <a:spLocks noGrp="1"/>
          </p:cNvSpPr>
          <p:nvPr>
            <p:ph type="pic" sz="quarter" idx="11"/>
          </p:nvPr>
        </p:nvSpPr>
        <p:spPr>
          <a:xfrm>
            <a:off x="3048" y="0"/>
            <a:ext cx="12188952" cy="6858000"/>
          </a:xfrm>
          <a:solidFill>
            <a:schemeClr val="bg1">
              <a:lumMod val="95000"/>
            </a:schemeClr>
          </a:solidFill>
        </p:spPr>
        <p:txBody>
          <a:bodyPr anchor="ctr"/>
          <a:lstStyle>
            <a:lvl1pPr algn="ctr">
              <a:defRPr/>
            </a:lvl1pPr>
          </a:lstStyle>
          <a:p>
            <a:endParaRPr lang="en-US"/>
          </a:p>
        </p:txBody>
      </p:sp>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2809185"/>
            <a:ext cx="4112019" cy="2721460"/>
          </a:xfrm>
          <a:noFill/>
        </p:spPr>
        <p:txBody>
          <a:bodyPr wrap="square" lIns="0" tIns="0" rIns="0" bIns="0" rtlCol="0">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11943204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4_Section 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A532D90-37D4-46CF-98AB-2C49C8DD167F}"/>
              </a:ext>
            </a:extLst>
          </p:cNvPr>
          <p:cNvPicPr>
            <a:picLocks noChangeAspect="1"/>
          </p:cNvPicPr>
          <p:nvPr userDrawn="1"/>
        </p:nvPicPr>
        <p:blipFill>
          <a:blip r:embed="rId2"/>
          <a:stretch>
            <a:fillRect/>
          </a:stretch>
        </p:blipFill>
        <p:spPr>
          <a:xfrm>
            <a:off x="0" y="0"/>
            <a:ext cx="12192000" cy="6862813"/>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1019714"/>
            <a:ext cx="9782726" cy="2269176"/>
          </a:xfrm>
          <a:noFill/>
        </p:spPr>
        <p:txBody>
          <a:bodyPr vert="horz" wrap="square" lIns="0" tIns="0" rIns="0" bIns="0" rtlCol="0" anchor="b">
            <a:normAutofit/>
          </a:bodyPr>
          <a:lstStyle>
            <a:lvl1pPr>
              <a:defRPr lang="en-US" sz="4800" spc="-150" dirty="0">
                <a:solidFill>
                  <a:schemeClr val="tx1"/>
                </a:solidFill>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4619779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2F46B54-8731-4BEB-8F04-F2966D926BD3}"/>
              </a:ext>
            </a:extLst>
          </p:cNvPr>
          <p:cNvPicPr>
            <a:picLocks/>
          </p:cNvPicPr>
          <p:nvPr userDrawn="1"/>
        </p:nvPicPr>
        <p:blipFill>
          <a:blip r:embed="rId2"/>
          <a:stretch>
            <a:fillRect/>
          </a:stretch>
        </p:blipFill>
        <p:spPr>
          <a:xfrm>
            <a:off x="-2" y="0"/>
            <a:ext cx="12192001" cy="6858000"/>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1019714"/>
            <a:ext cx="9782726" cy="2269176"/>
          </a:xfrm>
          <a:noFill/>
        </p:spPr>
        <p:txBody>
          <a:bodyPr vert="horz" wrap="square" lIns="0" tIns="0" rIns="0" bIns="0" rtlCol="0" anchor="b">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23267712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F882965-3783-42BB-9A57-79ED4873BA35}"/>
              </a:ext>
            </a:extLst>
          </p:cNvPr>
          <p:cNvPicPr>
            <a:picLocks/>
          </p:cNvPicPr>
          <p:nvPr userDrawn="1"/>
        </p:nvPicPr>
        <p:blipFill>
          <a:blip r:embed="rId2"/>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457200" y="1019714"/>
            <a:ext cx="11277600" cy="1761138"/>
          </a:xfrm>
          <a:noFill/>
        </p:spPr>
        <p:txBody>
          <a:bodyPr vert="horz" wrap="square" lIns="0" tIns="0" rIns="0" bIns="0" rtlCol="0" anchor="b">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
        <p:nvSpPr>
          <p:cNvPr id="4" name="Content Placeholder 3">
            <a:extLst>
              <a:ext uri="{FF2B5EF4-FFF2-40B4-BE49-F238E27FC236}">
                <a16:creationId xmlns:a16="http://schemas.microsoft.com/office/drawing/2014/main" id="{B62D714D-7AC5-4A8C-B970-828A629FC638}"/>
              </a:ext>
            </a:extLst>
          </p:cNvPr>
          <p:cNvSpPr>
            <a:spLocks noGrp="1"/>
          </p:cNvSpPr>
          <p:nvPr>
            <p:ph sz="quarter" idx="11"/>
          </p:nvPr>
        </p:nvSpPr>
        <p:spPr>
          <a:xfrm>
            <a:off x="457200" y="2991335"/>
            <a:ext cx="11277600" cy="623888"/>
          </a:xfrm>
        </p:spPr>
        <p:txBody>
          <a:bodyPr/>
          <a:lstStyle>
            <a:lvl1pPr>
              <a:defRPr sz="20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Click to edit Master text styles</a:t>
            </a:r>
          </a:p>
        </p:txBody>
      </p:sp>
    </p:spTree>
    <p:extLst>
      <p:ext uri="{BB962C8B-B14F-4D97-AF65-F5344CB8AC3E}">
        <p14:creationId xmlns:p14="http://schemas.microsoft.com/office/powerpoint/2010/main" val="10560950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lIns="0" tIns="0" rIns="0" bIns="0">
            <a:noAutofit/>
          </a:bodyPr>
          <a:lstStyle>
            <a:lvl1pPr marL="0" indent="0">
              <a:spcAft>
                <a:spcPts val="600"/>
              </a:spcAft>
              <a:buNone/>
              <a:defRPr sz="1200" b="0" spc="-10" baseline="0">
                <a:solidFill>
                  <a:schemeClr val="tx1"/>
                </a:solidFill>
                <a:latin typeface="+mn-lt"/>
              </a:defRPr>
            </a:lvl1pPr>
          </a:lstStyle>
          <a:p>
            <a:pPr lvl="0"/>
            <a:r>
              <a:rPr lang="en-US" noProof="0"/>
              <a:t>Click to add subtitle</a:t>
            </a:r>
          </a:p>
        </p:txBody>
      </p:sp>
    </p:spTree>
    <p:extLst>
      <p:ext uri="{BB962C8B-B14F-4D97-AF65-F5344CB8AC3E}">
        <p14:creationId xmlns:p14="http://schemas.microsoft.com/office/powerpoint/2010/main" val="39084665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head, breadcrumb">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521569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ubhead, breadcrumb">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8676599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head,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18">
            <a:extLst>
              <a:ext uri="{FF2B5EF4-FFF2-40B4-BE49-F238E27FC236}">
                <a16:creationId xmlns:a16="http://schemas.microsoft.com/office/drawing/2014/main" id="{B6FC7BD1-335E-4CA1-BDA2-487B07987509}"/>
              </a:ext>
            </a:extLst>
          </p:cNvPr>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sz="1000"/>
            </a:lvl1pPr>
            <a:lvl2pPr marL="127000" indent="-127000" algn="l">
              <a:buClrTx/>
              <a:buSzPct val="100000"/>
              <a:buFont typeface="Arial" panose="020B0604020202020204" pitchFamily="34" charset="0"/>
              <a:buChar char="•"/>
              <a:defRPr sz="1000"/>
            </a:lvl2pPr>
            <a:lvl3pPr marL="279400" indent="-127000" algn="l">
              <a:buClrTx/>
              <a:buSzPct val="100000"/>
              <a:buFont typeface="Arial" panose="020B0604020202020204" pitchFamily="34" charset="0"/>
              <a:buChar char="−"/>
              <a:defRPr sz="1000"/>
            </a:lvl3pPr>
            <a:lvl4pPr marL="431800" indent="-127000" algn="l">
              <a:buClrTx/>
              <a:buSzPct val="100000"/>
              <a:buFont typeface="Arial" panose="020B0604020202020204" pitchFamily="34" charset="0"/>
              <a:buChar char="◦"/>
              <a:defRPr sz="1000"/>
            </a:lvl4pPr>
            <a:lvl5pPr marL="584200" indent="-127000" algn="l">
              <a:buClrTx/>
              <a:buSzPct val="100000"/>
              <a:buFont typeface="Arial" panose="020B0604020202020204" pitchFamily="34" charset="0"/>
              <a:buChar char="−"/>
              <a:defRPr sz="1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751929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head, breadcrumb,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
        <p:nvSpPr>
          <p:cNvPr id="6" name="Text Placeholder 18">
            <a:extLst>
              <a:ext uri="{FF2B5EF4-FFF2-40B4-BE49-F238E27FC236}">
                <a16:creationId xmlns:a16="http://schemas.microsoft.com/office/drawing/2014/main" id="{B5441A96-9AA8-4871-B64B-8A0861BFB8F1}"/>
              </a:ext>
            </a:extLst>
          </p:cNvPr>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sz="1000"/>
            </a:lvl1pPr>
            <a:lvl2pPr marL="127000" indent="-127000" algn="l">
              <a:buClrTx/>
              <a:buSzPct val="100000"/>
              <a:buFont typeface="Arial" panose="020B0604020202020204" pitchFamily="34" charset="0"/>
              <a:buChar char="•"/>
              <a:defRPr sz="1000"/>
            </a:lvl2pPr>
            <a:lvl3pPr marL="279400" indent="-127000" algn="l">
              <a:buClrTx/>
              <a:buSzPct val="100000"/>
              <a:buFont typeface="Arial" panose="020B0604020202020204" pitchFamily="34" charset="0"/>
              <a:buChar char="−"/>
              <a:defRPr sz="1000"/>
            </a:lvl3pPr>
            <a:lvl4pPr marL="431800" indent="-127000" algn="l">
              <a:buClrTx/>
              <a:buSzPct val="100000"/>
              <a:buFont typeface="Arial" panose="020B0604020202020204" pitchFamily="34" charset="0"/>
              <a:buChar char="◦"/>
              <a:defRPr sz="1000"/>
            </a:lvl4pPr>
            <a:lvl5pPr marL="584200" indent="-127000" algn="l">
              <a:buClrTx/>
              <a:buSzPct val="100000"/>
              <a:buFont typeface="Arial" panose="020B0604020202020204" pitchFamily="34" charset="0"/>
              <a:buChar char="−"/>
              <a:defRPr sz="1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90871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tx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accent2"/>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7" name="Title 1"/>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a:t>CLICK TO EDIT </a:t>
            </a:r>
            <a:br>
              <a:rPr lang="en-US"/>
            </a:br>
            <a:r>
              <a:rPr lang="en-US"/>
              <a:t>TITLE STYLE</a:t>
            </a:r>
          </a:p>
        </p:txBody>
      </p:sp>
      <p:pic>
        <p:nvPicPr>
          <p:cNvPr id="2" name="Picture 1">
            <a:extLst>
              <a:ext uri="{FF2B5EF4-FFF2-40B4-BE49-F238E27FC236}">
                <a16:creationId xmlns:a16="http://schemas.microsoft.com/office/drawing/2014/main" id="{7E2379E8-F2CC-8B81-C601-399651B1C1E2}"/>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9310013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head, left stac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3188447" cy="1115568"/>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619344"/>
            <a:ext cx="318685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Tree>
    <p:extLst>
      <p:ext uri="{BB962C8B-B14F-4D97-AF65-F5344CB8AC3E}">
        <p14:creationId xmlns:p14="http://schemas.microsoft.com/office/powerpoint/2010/main" val="4218194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head, breadcrumb left stac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4"/>
            <a:ext cx="3640138"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619344"/>
            <a:ext cx="3638322"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199" y="207780"/>
            <a:ext cx="3643345"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30321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BG Title, subhead, breadcrumb left stack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996" y="434975"/>
            <a:ext cx="3639342"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936897"/>
            <a:ext cx="363752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200" y="206030"/>
            <a:ext cx="3642548"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33321900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Dark BG Title, subhead, breadcrumb left stack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996" y="434975"/>
            <a:ext cx="3639342"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2779859"/>
            <a:ext cx="363752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200" y="206030"/>
            <a:ext cx="3642548"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42125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4074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E2FB50B-9AA1-40C2-9601-45E44F6B160C}"/>
              </a:ext>
            </a:extLst>
          </p:cNvPr>
          <p:cNvPicPr>
            <a:picLocks noChangeAspect="1"/>
          </p:cNvPicPr>
          <p:nvPr userDrawn="1"/>
        </p:nvPicPr>
        <p:blipFill>
          <a:blip r:embed="rId2"/>
          <a:stretch>
            <a:fillRect/>
          </a:stretch>
        </p:blipFill>
        <p:spPr>
          <a:xfrm>
            <a:off x="6493" y="0"/>
            <a:ext cx="12179013" cy="6858000"/>
          </a:xfrm>
          <a:prstGeom prst="rect">
            <a:avLst/>
          </a:prstGeom>
        </p:spPr>
      </p:pic>
      <p:grpSp>
        <p:nvGrpSpPr>
          <p:cNvPr id="35" name="Group 34">
            <a:extLst>
              <a:ext uri="{FF2B5EF4-FFF2-40B4-BE49-F238E27FC236}">
                <a16:creationId xmlns:a16="http://schemas.microsoft.com/office/drawing/2014/main" id="{D85C27F1-5BA4-4006-9D59-C30C475C9D2E}"/>
              </a:ext>
            </a:extLst>
          </p:cNvPr>
          <p:cNvGrpSpPr>
            <a:grpSpLocks noChangeAspect="1"/>
          </p:cNvGrpSpPr>
          <p:nvPr userDrawn="1"/>
        </p:nvGrpSpPr>
        <p:grpSpPr>
          <a:xfrm>
            <a:off x="863392" y="736031"/>
            <a:ext cx="1430923" cy="268137"/>
            <a:chOff x="398463" y="404813"/>
            <a:chExt cx="1627187" cy="307976"/>
          </a:xfrm>
          <a:solidFill>
            <a:schemeClr val="tx1"/>
          </a:solidFill>
        </p:grpSpPr>
        <p:sp>
          <p:nvSpPr>
            <p:cNvPr id="36" name="Oval 35">
              <a:extLst>
                <a:ext uri="{FF2B5EF4-FFF2-40B4-BE49-F238E27FC236}">
                  <a16:creationId xmlns:a16="http://schemas.microsoft.com/office/drawing/2014/main" id="{E539A717-0BDA-454C-9D9F-4BC42CC9139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7" name="Freeform 6">
              <a:extLst>
                <a:ext uri="{FF2B5EF4-FFF2-40B4-BE49-F238E27FC236}">
                  <a16:creationId xmlns:a16="http://schemas.microsoft.com/office/drawing/2014/main" id="{71BC6764-CA8D-4AFF-8DA3-51F34873636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8" name="Rectangle 37">
              <a:extLst>
                <a:ext uri="{FF2B5EF4-FFF2-40B4-BE49-F238E27FC236}">
                  <a16:creationId xmlns:a16="http://schemas.microsoft.com/office/drawing/2014/main" id="{D1095A14-76F8-40CB-8C13-6E8E2E8A0A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9" name="Freeform 8">
              <a:extLst>
                <a:ext uri="{FF2B5EF4-FFF2-40B4-BE49-F238E27FC236}">
                  <a16:creationId xmlns:a16="http://schemas.microsoft.com/office/drawing/2014/main" id="{26CAA025-35D6-4D01-A9C1-314CD5D25DC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0" name="Rectangle 39">
              <a:extLst>
                <a:ext uri="{FF2B5EF4-FFF2-40B4-BE49-F238E27FC236}">
                  <a16:creationId xmlns:a16="http://schemas.microsoft.com/office/drawing/2014/main" id="{9FB05C8C-3D45-4F63-88DC-FA5B8215210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1" name="Rectangle 40">
              <a:extLst>
                <a:ext uri="{FF2B5EF4-FFF2-40B4-BE49-F238E27FC236}">
                  <a16:creationId xmlns:a16="http://schemas.microsoft.com/office/drawing/2014/main" id="{A1BE3CAF-C59B-42E7-81BF-BE4A7D36F5F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2" name="Freeform 11">
              <a:extLst>
                <a:ext uri="{FF2B5EF4-FFF2-40B4-BE49-F238E27FC236}">
                  <a16:creationId xmlns:a16="http://schemas.microsoft.com/office/drawing/2014/main" id="{CF349080-0EFB-4FB7-BADA-D10735BB015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3" name="Freeform 12">
              <a:extLst>
                <a:ext uri="{FF2B5EF4-FFF2-40B4-BE49-F238E27FC236}">
                  <a16:creationId xmlns:a16="http://schemas.microsoft.com/office/drawing/2014/main" id="{AC08DA9C-CB97-4129-BFA5-FE09DDD258E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4" name="Freeform 13">
              <a:extLst>
                <a:ext uri="{FF2B5EF4-FFF2-40B4-BE49-F238E27FC236}">
                  <a16:creationId xmlns:a16="http://schemas.microsoft.com/office/drawing/2014/main" id="{5389686E-A6A1-4481-BBBA-A304BCC6CA9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5" name="Freeform 14">
              <a:extLst>
                <a:ext uri="{FF2B5EF4-FFF2-40B4-BE49-F238E27FC236}">
                  <a16:creationId xmlns:a16="http://schemas.microsoft.com/office/drawing/2014/main" id="{C840AF6F-DF48-457F-BC48-76879E05FFA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grpSp>
      <p:sp>
        <p:nvSpPr>
          <p:cNvPr id="17" name="USOC_Text2">
            <a:extLst>
              <a:ext uri="{FF2B5EF4-FFF2-40B4-BE49-F238E27FC236}">
                <a16:creationId xmlns:a16="http://schemas.microsoft.com/office/drawing/2014/main" id="{2AC7CB47-214D-4928-B9D2-0305F32593C7}"/>
              </a:ext>
            </a:extLst>
          </p:cNvPr>
          <p:cNvSpPr txBox="1">
            <a:spLocks/>
          </p:cNvSpPr>
          <p:nvPr userDrawn="1"/>
        </p:nvSpPr>
        <p:spPr bwMode="gray">
          <a:xfrm>
            <a:off x="722242" y="5157531"/>
            <a:ext cx="7460975" cy="1544637"/>
          </a:xfrm>
          <a:prstGeom prst="rect">
            <a:avLst/>
          </a:prstGeom>
          <a:noFill/>
        </p:spPr>
        <p:txBody>
          <a:bodyPr lIns="91440" rIns="91440" anchor="b" anchorCtr="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400"/>
              </a:spcAft>
            </a:pPr>
            <a:b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br>
            <a:b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1 Deloitte Development LLC. All rights reserved.</a:t>
            </a:r>
          </a:p>
        </p:txBody>
      </p:sp>
    </p:spTree>
    <p:extLst>
      <p:ext uri="{BB962C8B-B14F-4D97-AF65-F5344CB8AC3E}">
        <p14:creationId xmlns:p14="http://schemas.microsoft.com/office/powerpoint/2010/main" val="8764552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Subhead, Breadcrumb">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51128"/>
            <a:ext cx="11252200" cy="173038"/>
          </a:xfrm>
        </p:spPr>
        <p:txBody>
          <a:bodyPr anchor="b"/>
          <a:lstStyle>
            <a:lvl1pPr>
              <a:defRPr sz="900" b="0" cap="all" baseline="0">
                <a:solidFill>
                  <a:schemeClr val="bg1">
                    <a:lumMod val="65000"/>
                  </a:schemeClr>
                </a:solidFill>
              </a:defRPr>
            </a:lvl1pPr>
          </a:lstStyle>
          <a:p>
            <a:pPr lvl="0"/>
            <a:r>
              <a:rPr lang="en-US"/>
              <a:t>CLICK TO EDIT BREADCRUMB</a:t>
            </a:r>
          </a:p>
        </p:txBody>
      </p:sp>
      <p:sp>
        <p:nvSpPr>
          <p:cNvPr id="6" name="Text Placeholder 8">
            <a:extLst>
              <a:ext uri="{FF2B5EF4-FFF2-40B4-BE49-F238E27FC236}">
                <a16:creationId xmlns:a16="http://schemas.microsoft.com/office/drawing/2014/main" id="{97460AE7-C41F-B742-A869-5900E2154F01}"/>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7" name="Title Placeholder 1">
            <a:extLst>
              <a:ext uri="{FF2B5EF4-FFF2-40B4-BE49-F238E27FC236}">
                <a16:creationId xmlns:a16="http://schemas.microsoft.com/office/drawing/2014/main" id="{F117C93D-60BC-C04D-874C-030B601BD595}"/>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sz="2400">
                <a:latin typeface="+mn-lt"/>
              </a:defRPr>
            </a:lvl1pPr>
          </a:lstStyle>
          <a:p>
            <a:r>
              <a:rPr lang="en-US" noProof="0"/>
              <a:t>Click to edit Master title style</a:t>
            </a:r>
          </a:p>
        </p:txBody>
      </p:sp>
    </p:spTree>
    <p:extLst>
      <p:ext uri="{BB962C8B-B14F-4D97-AF65-F5344CB8AC3E}">
        <p14:creationId xmlns:p14="http://schemas.microsoft.com/office/powerpoint/2010/main" val="22238371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2_Custom Layout">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0" y="-1"/>
            <a:ext cx="12192000" cy="6858001"/>
          </a:xfrm>
          <a:prstGeom prst="rect">
            <a:avLst/>
          </a:prstGeom>
          <a:pattFill prst="pct5">
            <a:fgClr>
              <a:schemeClr val="bg1">
                <a:lumMod val="65000"/>
              </a:schemeClr>
            </a:fgClr>
            <a:bgClr>
              <a:schemeClr val="bg1"/>
            </a:bgClr>
          </a:pattFill>
        </p:spPr>
        <p:txBody>
          <a:bodyPr anchor="ctr"/>
          <a:lstStyle>
            <a:lvl1pPr marL="0" indent="0" algn="ctr">
              <a:buNone/>
              <a:defRPr sz="1200"/>
            </a:lvl1pPr>
          </a:lstStyle>
          <a:p>
            <a:r>
              <a:rPr lang="en-US"/>
              <a:t>Drag and Drop image</a:t>
            </a:r>
          </a:p>
        </p:txBody>
      </p:sp>
      <p:sp>
        <p:nvSpPr>
          <p:cNvPr id="2" name="Footer Placeholder 1">
            <a:extLst>
              <a:ext uri="{FF2B5EF4-FFF2-40B4-BE49-F238E27FC236}">
                <a16:creationId xmlns:a16="http://schemas.microsoft.com/office/drawing/2014/main" id="{CE6CE932-6523-427B-BC1E-E22869D6539D}"/>
              </a:ext>
            </a:extLst>
          </p:cNvPr>
          <p:cNvSpPr>
            <a:spLocks noGrp="1"/>
          </p:cNvSpPr>
          <p:nvPr>
            <p:ph type="ftr" sz="quarter" idx="11"/>
          </p:nvPr>
        </p:nvSpPr>
        <p:spPr>
          <a:xfrm>
            <a:off x="4038600" y="6356350"/>
            <a:ext cx="4114800" cy="365125"/>
          </a:xfrm>
          <a:prstGeom prst="rect">
            <a:avLst/>
          </a:prstGeom>
        </p:spPr>
        <p:txBody>
          <a:bodyPr/>
          <a:lstStyle/>
          <a:p>
            <a:endParaRPr lang="fr-FR"/>
          </a:p>
        </p:txBody>
      </p:sp>
      <p:sp>
        <p:nvSpPr>
          <p:cNvPr id="3" name="Slide Number Placeholder 2">
            <a:extLst>
              <a:ext uri="{FF2B5EF4-FFF2-40B4-BE49-F238E27FC236}">
                <a16:creationId xmlns:a16="http://schemas.microsoft.com/office/drawing/2014/main" id="{926E836C-AAF9-4070-925B-73B5E3C58116}"/>
              </a:ext>
            </a:extLst>
          </p:cNvPr>
          <p:cNvSpPr>
            <a:spLocks noGrp="1"/>
          </p:cNvSpPr>
          <p:nvPr>
            <p:ph type="sldNum" sz="quarter" idx="12"/>
          </p:nvPr>
        </p:nvSpPr>
        <p:spPr>
          <a:xfrm>
            <a:off x="8610600" y="6356350"/>
            <a:ext cx="2743200" cy="365125"/>
          </a:xfrm>
          <a:prstGeom prst="rect">
            <a:avLst/>
          </a:prstGeom>
        </p:spPr>
        <p:txBody>
          <a:bodyPr/>
          <a:lstStyle/>
          <a:p>
            <a:fld id="{EAE70F07-5BEA-412F-A726-94309358D905}" type="slidenum">
              <a:rPr lang="fr-FR" smtClean="0"/>
              <a:pPr/>
              <a:t>‹#›</a:t>
            </a:fld>
            <a:endParaRPr lang="fr-FR"/>
          </a:p>
        </p:txBody>
      </p:sp>
    </p:spTree>
    <p:extLst>
      <p:ext uri="{BB962C8B-B14F-4D97-AF65-F5344CB8AC3E}">
        <p14:creationId xmlns:p14="http://schemas.microsoft.com/office/powerpoint/2010/main" val="138440765"/>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5797555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_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721519" y="393192"/>
            <a:ext cx="10363200" cy="594360"/>
          </a:xfrm>
        </p:spPr>
        <p:txBody>
          <a:bodyPr vert="horz" lIns="0" tIns="45720" rIns="0" bIns="0" rtlCol="0" anchor="b" anchorCtr="0">
            <a:noAutofit/>
          </a:bodyPr>
          <a:lstStyle>
            <a:lvl1pPr>
              <a:defRPr lang="en-US" sz="2400" b="1"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721840" y="1051560"/>
            <a:ext cx="10362880" cy="475488"/>
          </a:xfrm>
        </p:spPr>
        <p:txBody>
          <a:bodyPr vert="horz" lIns="0" tIns="0" rIns="0" bIns="0" rtlCol="0">
            <a:noAutofit/>
          </a:bodyPr>
          <a:lstStyle>
            <a:lvl1pPr marL="0" indent="0">
              <a:buNone/>
              <a:defRPr lang="en-US" sz="1400" b="0">
                <a:solidFill>
                  <a:srgbClr val="B4B4B4"/>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Master text styles</a:t>
            </a:r>
          </a:p>
        </p:txBody>
      </p:sp>
      <p:sp>
        <p:nvSpPr>
          <p:cNvPr id="5" name="Holder 6">
            <a:extLst>
              <a:ext uri="{FF2B5EF4-FFF2-40B4-BE49-F238E27FC236}">
                <a16:creationId xmlns:a16="http://schemas.microsoft.com/office/drawing/2014/main" id="{32286968-895F-4FB6-B265-00EE5158176A}"/>
              </a:ext>
            </a:extLst>
          </p:cNvPr>
          <p:cNvSpPr>
            <a:spLocks noGrp="1"/>
          </p:cNvSpPr>
          <p:nvPr>
            <p:ph type="sldNum" sz="quarter" idx="7"/>
          </p:nvPr>
        </p:nvSpPr>
        <p:spPr>
          <a:xfrm>
            <a:off x="11811000" y="6468814"/>
            <a:ext cx="250825" cy="153888"/>
          </a:xfrm>
          <a:prstGeom prst="rect">
            <a:avLst/>
          </a:prstGeom>
        </p:spPr>
        <p:txBody>
          <a:bodyPr wrap="square" lIns="0" tIns="0" rIns="0" bIns="0">
            <a:spAutoFit/>
          </a:bodyPr>
          <a:lstStyle>
            <a:lvl1pPr>
              <a:defRPr sz="1000" b="0" i="0">
                <a:solidFill>
                  <a:schemeClr val="bg1">
                    <a:lumMod val="65000"/>
                  </a:schemeClr>
                </a:solidFill>
                <a:latin typeface="Open Sans"/>
                <a:cs typeface="Open Sans"/>
              </a:defRPr>
            </a:lvl1pPr>
          </a:lstStyle>
          <a:p>
            <a:pPr marL="38100">
              <a:spcBef>
                <a:spcPts val="180"/>
              </a:spcBef>
            </a:pPr>
            <a:fld id="{81D60167-4931-47E6-BA6A-407CBD079E47}" type="slidenum">
              <a:rPr lang="en-US" smtClean="0"/>
              <a:pPr marL="38100">
                <a:spcBef>
                  <a:spcPts val="180"/>
                </a:spcBef>
              </a:pPr>
              <a:t>‹#›</a:t>
            </a:fld>
            <a:endParaRPr lang="en-US"/>
          </a:p>
        </p:txBody>
      </p:sp>
    </p:spTree>
    <p:extLst>
      <p:ext uri="{BB962C8B-B14F-4D97-AF65-F5344CB8AC3E}">
        <p14:creationId xmlns:p14="http://schemas.microsoft.com/office/powerpoint/2010/main" val="42242485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_tan">
    <p:bg>
      <p:bgPr>
        <a:solidFill>
          <a:schemeClr val="accent1"/>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37DFD003-31A4-8340-0A89-F3F70E0F5A59}"/>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rgbClr val="32006E"/>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4" name="Title 1">
            <a:extLst>
              <a:ext uri="{FF2B5EF4-FFF2-40B4-BE49-F238E27FC236}">
                <a16:creationId xmlns:a16="http://schemas.microsoft.com/office/drawing/2014/main" id="{19672DC9-106D-3DF9-16B9-F24BCF5E50C6}"/>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a:t>CLICK TO EDIT </a:t>
            </a:r>
            <a:br>
              <a:rPr lang="en-US"/>
            </a:br>
            <a:r>
              <a:rPr lang="en-US"/>
              <a:t>TITLE STYLE</a:t>
            </a:r>
          </a:p>
        </p:txBody>
      </p:sp>
      <p:pic>
        <p:nvPicPr>
          <p:cNvPr id="3" name="Picture 2">
            <a:extLst>
              <a:ext uri="{FF2B5EF4-FFF2-40B4-BE49-F238E27FC236}">
                <a16:creationId xmlns:a16="http://schemas.microsoft.com/office/drawing/2014/main" id="{FC35D0AB-3D5D-25E5-AA78-FD3B13ACFBFF}"/>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28533367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85699-3C4C-4C37-8717-7F92E81A5E3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3585706-AEE7-4F5A-AB54-117CFFBFA5C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3D14B3C-C2B7-431A-B2D2-670F6E51E0B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2357501-E441-40B3-9EBE-D9DC962AF894}"/>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5956250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5FB987-605F-4383-8109-2F07795E9E89}"/>
              </a:ext>
            </a:extLst>
          </p:cNvPr>
          <p:cNvGraphicFramePr>
            <a:graphicFrameLocks noChangeAspect="1"/>
          </p:cNvGraphicFramePr>
          <p:nvPr userDrawn="1">
            <p:custDataLst>
              <p:tags r:id="rId1"/>
            </p:custDataLst>
            <p:extLst>
              <p:ext uri="{D42A27DB-BD31-4B8C-83A1-F6EECF244321}">
                <p14:modId xmlns:p14="http://schemas.microsoft.com/office/powerpoint/2010/main" val="1418545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545FB987-605F-4383-8109-2F07795E9E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2" name="Rectangle 1">
            <a:extLst>
              <a:ext uri="{FF2B5EF4-FFF2-40B4-BE49-F238E27FC236}">
                <a16:creationId xmlns:a16="http://schemas.microsoft.com/office/drawing/2014/main" id="{B8A44779-5ECB-2630-1966-FE71809E119C}"/>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7865604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087366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6FE7E6-2381-4D77-8D1B-737D4BD10A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70106B0-921F-495E-9447-A2CED856CB6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263E6F-CED8-4500-B03B-B685AD7DDEAF}"/>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3FC8353F-8FBA-4E7A-A17D-2675DDF1D5C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E57ABB0-4F31-4F94-AD3A-95A8DF8C3437}"/>
              </a:ext>
            </a:extLst>
          </p:cNvPr>
          <p:cNvSpPr>
            <a:spLocks noGrp="1"/>
          </p:cNvSpPr>
          <p:nvPr>
            <p:ph type="sldNum" sz="quarter" idx="12"/>
          </p:nvPr>
        </p:nvSpPr>
        <p:spPr>
          <a:xfrm>
            <a:off x="8610600" y="6356350"/>
            <a:ext cx="2743200" cy="365125"/>
          </a:xfrm>
          <a:prstGeom prst="rect">
            <a:avLst/>
          </a:prstGeom>
        </p:spPr>
        <p:txBody>
          <a:bodyPr/>
          <a:lstStyle/>
          <a:p>
            <a:fld id="{44126F82-6418-4EE3-B86F-6F26BA7FB384}" type="slidenum">
              <a:rPr lang="en-US" smtClean="0"/>
              <a:t>‹#›</a:t>
            </a:fld>
            <a:endParaRPr lang="en-US"/>
          </a:p>
        </p:txBody>
      </p:sp>
    </p:spTree>
    <p:extLst>
      <p:ext uri="{BB962C8B-B14F-4D97-AF65-F5344CB8AC3E}">
        <p14:creationId xmlns:p14="http://schemas.microsoft.com/office/powerpoint/2010/main" val="17831206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subhead corner he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D57C3-5E5B-9644-856D-35EC8E918CCB}"/>
              </a:ext>
            </a:extLst>
          </p:cNvPr>
          <p:cNvSpPr>
            <a:spLocks noGrp="1"/>
          </p:cNvSpPr>
          <p:nvPr>
            <p:ph type="title"/>
          </p:nvPr>
        </p:nvSpPr>
        <p:spPr>
          <a:xfrm>
            <a:off x="469901" y="402587"/>
            <a:ext cx="8599672" cy="379302"/>
          </a:xfrm>
        </p:spPr>
        <p:txBody>
          <a:bodyPr/>
          <a:lstStyle>
            <a:lvl1pPr>
              <a:defRPr>
                <a:solidFill>
                  <a:schemeClr val="tx1"/>
                </a:solidFill>
              </a:defRPr>
            </a:lvl1pPr>
          </a:lstStyle>
          <a:p>
            <a:r>
              <a:rPr lang="en-US"/>
              <a:t>Click to edit Master title style</a:t>
            </a:r>
          </a:p>
        </p:txBody>
      </p:sp>
      <p:sp>
        <p:nvSpPr>
          <p:cNvPr id="3" name="Text Placeholder 8">
            <a:extLst>
              <a:ext uri="{FF2B5EF4-FFF2-40B4-BE49-F238E27FC236}">
                <a16:creationId xmlns:a16="http://schemas.microsoft.com/office/drawing/2014/main" id="{4DE71A3C-58DD-DFC2-E5DA-AB5FAB9BD2F8}"/>
              </a:ext>
            </a:extLst>
          </p:cNvPr>
          <p:cNvSpPr>
            <a:spLocks noGrp="1"/>
          </p:cNvSpPr>
          <p:nvPr>
            <p:ph type="body" sz="quarter" idx="13" hasCustomPrompt="1"/>
          </p:nvPr>
        </p:nvSpPr>
        <p:spPr>
          <a:xfrm>
            <a:off x="469901" y="856319"/>
            <a:ext cx="7432862"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400" b="1" i="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Tree>
    <p:extLst>
      <p:ext uri="{BB962C8B-B14F-4D97-AF65-F5344CB8AC3E}">
        <p14:creationId xmlns:p14="http://schemas.microsoft.com/office/powerpoint/2010/main" val="21253200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8E5499FF-52CE-4808-9511-0B7D0B9DF086}"/>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2000" b="0">
                <a:solidFill>
                  <a:schemeClr val="bg2">
                    <a:lumMod val="50000"/>
                  </a:schemeClr>
                </a:solidFill>
              </a:defRPr>
            </a:lvl1pPr>
          </a:lstStyle>
          <a:p>
            <a:pPr lvl="0"/>
            <a:r>
              <a:rPr lang="en-US" noProof="0"/>
              <a:t>Click to add subtitle</a:t>
            </a:r>
          </a:p>
        </p:txBody>
      </p:sp>
      <p:sp>
        <p:nvSpPr>
          <p:cNvPr id="6" name="Title Placeholder 1">
            <a:extLst>
              <a:ext uri="{FF2B5EF4-FFF2-40B4-BE49-F238E27FC236}">
                <a16:creationId xmlns:a16="http://schemas.microsoft.com/office/drawing/2014/main" id="{D7C2DF01-C9E0-4296-B3CD-AFA87E0442D4}"/>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8676216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70969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310826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1609761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Custom Blank - SF Dreamforce Diagonal Line Patter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175277"/>
      </p:ext>
    </p:extLst>
  </p:cSld>
  <p:clrMapOvr>
    <a:masterClrMapping/>
  </p:clrMapOvr>
  <p:extLst>
    <p:ext uri="{DCECCB84-F9BA-43D5-87BE-67443E8EF086}">
      <p15:sldGuideLst xmlns:p15="http://schemas.microsoft.com/office/powerpoint/2012/main">
        <p15:guide id="1" orient="horz" pos="240">
          <p15:clr>
            <a:srgbClr val="FBAE40"/>
          </p15:clr>
        </p15:guide>
        <p15:guide id="2" orient="horz" pos="4080">
          <p15:clr>
            <a:srgbClr val="FBAE40"/>
          </p15:clr>
        </p15:guide>
        <p15:guide id="3" orient="horz" pos="960">
          <p15:clr>
            <a:srgbClr val="FBAE40"/>
          </p15:clr>
        </p15:guide>
        <p15:guide id="4" pos="1128">
          <p15:clr>
            <a:srgbClr val="FBAE40"/>
          </p15:clr>
        </p15:guide>
        <p15:guide id="5" pos="17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Section header_purple">
    <p:bg>
      <p:bgPr>
        <a:solidFill>
          <a:srgbClr val="32006E"/>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40223BA2-E77E-B0A1-9266-0D49F8CF83D6}"/>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bg2"/>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4" name="Title 1">
            <a:extLst>
              <a:ext uri="{FF2B5EF4-FFF2-40B4-BE49-F238E27FC236}">
                <a16:creationId xmlns:a16="http://schemas.microsoft.com/office/drawing/2014/main" id="{1F38BED7-E369-0B67-7D56-7D3F31FC320F}"/>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accent1"/>
                </a:solidFill>
                <a:latin typeface="Encode Sans Normal ExtraBold" panose="02000000000000000000" pitchFamily="2" charset="77"/>
              </a:defRPr>
            </a:lvl1pPr>
          </a:lstStyle>
          <a:p>
            <a:r>
              <a:rPr lang="en-US"/>
              <a:t>CLICK TO EDIT </a:t>
            </a:r>
            <a:br>
              <a:rPr lang="en-US"/>
            </a:br>
            <a:r>
              <a:rPr lang="en-US"/>
              <a:t>TITLE STYLE</a:t>
            </a:r>
          </a:p>
        </p:txBody>
      </p:sp>
      <p:pic>
        <p:nvPicPr>
          <p:cNvPr id="3" name="Picture 2">
            <a:extLst>
              <a:ext uri="{FF2B5EF4-FFF2-40B4-BE49-F238E27FC236}">
                <a16:creationId xmlns:a16="http://schemas.microsoft.com/office/drawing/2014/main" id="{9F5EA4AC-71C6-D854-3BA5-146AD76AEF53}"/>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25499663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39B8EEA7-617C-474D-8E45-734EEF7D5C65}"/>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1800" b="0">
                <a:solidFill>
                  <a:schemeClr val="bg2">
                    <a:lumMod val="50000"/>
                  </a:schemeClr>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67A191F-BAB4-489A-9B01-AAD298EBDE1C}"/>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4484817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468879"/>
            <a:ext cx="8229600" cy="2286000"/>
          </a:xfrm>
        </p:spPr>
        <p:txBody>
          <a:bodyPr rIns="0"/>
          <a:lstStyle>
            <a:lvl1pPr>
              <a:lnSpc>
                <a:spcPct val="90000"/>
              </a:lnSpc>
              <a:defRPr sz="4800"/>
            </a:lvl1pPr>
          </a:lstStyle>
          <a:p>
            <a:r>
              <a:rPr lang="en-US"/>
              <a:t>Click to edit Master title style</a:t>
            </a:r>
          </a:p>
        </p:txBody>
      </p:sp>
      <p:sp>
        <p:nvSpPr>
          <p:cNvPr id="3" name="Subtitle 2"/>
          <p:cNvSpPr>
            <a:spLocks noGrp="1"/>
          </p:cNvSpPr>
          <p:nvPr>
            <p:ph type="subTitle" idx="1"/>
          </p:nvPr>
        </p:nvSpPr>
        <p:spPr>
          <a:xfrm>
            <a:off x="609600" y="4892040"/>
            <a:ext cx="6096000" cy="914400"/>
          </a:xfrm>
        </p:spPr>
        <p:txBody>
          <a:bodyPr/>
          <a:lstStyle>
            <a:lvl1pPr marL="0" indent="0" algn="l">
              <a:spcBef>
                <a:spcPts val="601"/>
              </a:spcBef>
              <a:buNone/>
              <a:defRPr sz="1801" b="0">
                <a:solidFill>
                  <a:schemeClr val="tx1"/>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Master subtitle style</a:t>
            </a:r>
          </a:p>
        </p:txBody>
      </p:sp>
      <p:grpSp>
        <p:nvGrpSpPr>
          <p:cNvPr id="9" name="Group 8"/>
          <p:cNvGrpSpPr>
            <a:grpSpLocks noChangeAspect="1"/>
          </p:cNvGrpSpPr>
          <p:nvPr userDrawn="1"/>
        </p:nvGrpSpPr>
        <p:grpSpPr>
          <a:xfrm>
            <a:off x="619745" y="468373"/>
            <a:ext cx="2723252" cy="259837"/>
            <a:chOff x="279400" y="2781300"/>
            <a:chExt cx="8585200" cy="1092200"/>
          </a:xfrm>
        </p:grpSpPr>
        <p:sp>
          <p:nvSpPr>
            <p:cNvPr id="12"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3"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4"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5"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6"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7"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8"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9"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0"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1"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pic>
        <p:nvPicPr>
          <p:cNvPr id="22" name="Picture 2" descr="Related image">
            <a:extLst>
              <a:ext uri="{FF2B5EF4-FFF2-40B4-BE49-F238E27FC236}">
                <a16:creationId xmlns:a16="http://schemas.microsoft.com/office/drawing/2014/main" id="{FD94A7AB-21E2-4ACD-AB27-13BE27C1251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6864" t="38722" b="37212"/>
          <a:stretch/>
        </p:blipFill>
        <p:spPr bwMode="auto">
          <a:xfrm>
            <a:off x="609601" y="418529"/>
            <a:ext cx="3015138" cy="4418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95110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Alterna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468879"/>
            <a:ext cx="8229600" cy="2286000"/>
          </a:xfrm>
        </p:spPr>
        <p:txBody>
          <a:bodyPr rIns="0"/>
          <a:lstStyle>
            <a:lvl1pPr>
              <a:lnSpc>
                <a:spcPct val="90000"/>
              </a:lnSpc>
              <a:defRPr sz="4800">
                <a:solidFill>
                  <a:schemeClr val="bg1"/>
                </a:solidFill>
              </a:defRPr>
            </a:lvl1pPr>
          </a:lstStyle>
          <a:p>
            <a:r>
              <a:rPr lang="en-US"/>
              <a:t>Click to edit Master title style</a:t>
            </a:r>
          </a:p>
        </p:txBody>
      </p:sp>
      <p:sp>
        <p:nvSpPr>
          <p:cNvPr id="3" name="Subtitle 2"/>
          <p:cNvSpPr>
            <a:spLocks noGrp="1"/>
          </p:cNvSpPr>
          <p:nvPr>
            <p:ph type="subTitle" idx="1"/>
          </p:nvPr>
        </p:nvSpPr>
        <p:spPr bwMode="invGray">
          <a:xfrm>
            <a:off x="609600" y="4892040"/>
            <a:ext cx="6096000" cy="914400"/>
          </a:xfrm>
        </p:spPr>
        <p:txBody>
          <a:bodyPr/>
          <a:lstStyle>
            <a:lvl1pPr marL="0" indent="0" algn="l">
              <a:spcBef>
                <a:spcPts val="601"/>
              </a:spcBef>
              <a:buNone/>
              <a:defRPr sz="1801" b="0">
                <a:solidFill>
                  <a:schemeClr val="bg1"/>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Master subtitle style</a:t>
            </a:r>
          </a:p>
        </p:txBody>
      </p:sp>
      <p:grpSp>
        <p:nvGrpSpPr>
          <p:cNvPr id="10" name="Group 9"/>
          <p:cNvGrpSpPr>
            <a:grpSpLocks noChangeAspect="1"/>
          </p:cNvGrpSpPr>
          <p:nvPr userDrawn="1"/>
        </p:nvGrpSpPr>
        <p:grpSpPr bwMode="black">
          <a:xfrm>
            <a:off x="619745" y="486662"/>
            <a:ext cx="2723252" cy="352629"/>
            <a:chOff x="279400" y="2781300"/>
            <a:chExt cx="8585200" cy="1092200"/>
          </a:xfrm>
          <a:solidFill>
            <a:schemeClr val="bg1"/>
          </a:solidFill>
        </p:grpSpPr>
        <p:sp>
          <p:nvSpPr>
            <p:cNvPr id="11" name="Freeform 5"/>
            <p:cNvSpPr>
              <a:spLocks/>
            </p:cNvSpPr>
            <p:nvPr/>
          </p:nvSpPr>
          <p:spPr bwMode="black">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2" name="Freeform 6"/>
            <p:cNvSpPr>
              <a:spLocks/>
            </p:cNvSpPr>
            <p:nvPr/>
          </p:nvSpPr>
          <p:spPr bwMode="black">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3" name="Freeform 7"/>
            <p:cNvSpPr>
              <a:spLocks noEditPoints="1"/>
            </p:cNvSpPr>
            <p:nvPr/>
          </p:nvSpPr>
          <p:spPr bwMode="black">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4" name="Freeform 8"/>
            <p:cNvSpPr>
              <a:spLocks noEditPoints="1"/>
            </p:cNvSpPr>
            <p:nvPr/>
          </p:nvSpPr>
          <p:spPr bwMode="black">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5" name="Freeform 9"/>
            <p:cNvSpPr>
              <a:spLocks/>
            </p:cNvSpPr>
            <p:nvPr/>
          </p:nvSpPr>
          <p:spPr bwMode="black">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6" name="Freeform 10"/>
            <p:cNvSpPr>
              <a:spLocks/>
            </p:cNvSpPr>
            <p:nvPr/>
          </p:nvSpPr>
          <p:spPr bwMode="black">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7" name="Freeform 11"/>
            <p:cNvSpPr>
              <a:spLocks/>
            </p:cNvSpPr>
            <p:nvPr/>
          </p:nvSpPr>
          <p:spPr bwMode="black">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8" name="Freeform 12"/>
            <p:cNvSpPr>
              <a:spLocks/>
            </p:cNvSpPr>
            <p:nvPr/>
          </p:nvSpPr>
          <p:spPr bwMode="black">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9" name="Freeform 13"/>
            <p:cNvSpPr>
              <a:spLocks/>
            </p:cNvSpPr>
            <p:nvPr/>
          </p:nvSpPr>
          <p:spPr bwMode="black">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0" name="Freeform 14"/>
            <p:cNvSpPr>
              <a:spLocks/>
            </p:cNvSpPr>
            <p:nvPr/>
          </p:nvSpPr>
          <p:spPr bwMode="black">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spTree>
    <p:extLst>
      <p:ext uri="{BB962C8B-B14F-4D97-AF65-F5344CB8AC3E}">
        <p14:creationId xmlns:p14="http://schemas.microsoft.com/office/powerpoint/2010/main" val="1140072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8" name="Slide Number Placeholder 5">
            <a:extLst>
              <a:ext uri="{FF2B5EF4-FFF2-40B4-BE49-F238E27FC236}">
                <a16:creationId xmlns:a16="http://schemas.microsoft.com/office/drawing/2014/main" id="{421AF0C5-23C3-4A3F-8951-AEA6D03375E0}"/>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31065910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idx="1"/>
          </p:nvPr>
        </p:nvSpPr>
        <p:spPr bwMode="gray"/>
        <p:txBody>
          <a:bodyPr/>
          <a:lstStyle>
            <a:lvl1pPr>
              <a:defRPr cap="all"/>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974A0878-B85F-4BEB-B631-2146CA09116A}"/>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6768756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sz="half" idx="1" hasCustomPrompt="1"/>
          </p:nvPr>
        </p:nvSpPr>
        <p:spPr bwMode="gray">
          <a:xfrm>
            <a:off x="609611"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bwMode="gray">
          <a:xfrm>
            <a:off x="6343924"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4E612233-6251-496F-9B56-886FB8E04E74}"/>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8943635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with Image">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sz="half" idx="1" hasCustomPrompt="1"/>
          </p:nvPr>
        </p:nvSpPr>
        <p:spPr bwMode="gray">
          <a:xfrm>
            <a:off x="609611"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3"/>
          </p:nvPr>
        </p:nvSpPr>
        <p:spPr>
          <a:xfrm>
            <a:off x="6339840" y="1463675"/>
            <a:ext cx="5242560" cy="502920"/>
          </a:xfrm>
          <a:solidFill>
            <a:schemeClr val="tx1"/>
          </a:solidFill>
        </p:spPr>
        <p:txBody>
          <a:bodyPr lIns="91440" anchor="ctr" anchorCtr="0"/>
          <a:lstStyle>
            <a:lvl1pPr>
              <a:defRPr sz="1600" cap="all" baseline="0">
                <a:solidFill>
                  <a:schemeClr val="bg1"/>
                </a:solidFill>
              </a:defRPr>
            </a:lvl1pPr>
          </a:lstStyle>
          <a:p>
            <a:pPr lvl="0"/>
            <a:r>
              <a:rPr lang="en-US"/>
              <a:t>Click to edit Master text styles</a:t>
            </a:r>
          </a:p>
        </p:txBody>
      </p:sp>
      <p:sp>
        <p:nvSpPr>
          <p:cNvPr id="10" name="Text Placeholder 9"/>
          <p:cNvSpPr>
            <a:spLocks noGrp="1"/>
          </p:cNvSpPr>
          <p:nvPr>
            <p:ph type="body" sz="quarter" idx="14" hasCustomPrompt="1"/>
          </p:nvPr>
        </p:nvSpPr>
        <p:spPr>
          <a:xfrm>
            <a:off x="6339419" y="2057399"/>
            <a:ext cx="5242983" cy="3794760"/>
          </a:xfrm>
          <a:solidFill>
            <a:schemeClr val="bg2"/>
          </a:solidFill>
        </p:spPr>
        <p:txBody>
          <a:bodyPr lIns="91440" anchor="ctr" anchorCtr="0"/>
          <a:lstStyle>
            <a:lvl1pPr>
              <a:defRPr sz="1600">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algn="ctr"/>
            <a:r>
              <a:rPr lang="en-US" sz="1401">
                <a:solidFill>
                  <a:schemeClr val="tx1">
                    <a:lumMod val="50000"/>
                    <a:lumOff val="50000"/>
                  </a:schemeClr>
                </a:solidFill>
              </a:rPr>
              <a:t>Use this box as a cropping and positioning guideline for inserted images</a:t>
            </a:r>
          </a:p>
          <a:p>
            <a:pPr algn="ctr"/>
            <a:r>
              <a:rPr lang="en-US" sz="1401">
                <a:solidFill>
                  <a:schemeClr val="tx1">
                    <a:lumMod val="50000"/>
                    <a:lumOff val="50000"/>
                  </a:schemeClr>
                </a:solidFill>
              </a:rPr>
              <a:t>Position image over this area and crop to edges of gray box</a:t>
            </a:r>
          </a:p>
          <a:p>
            <a:pPr algn="ctr"/>
            <a:r>
              <a:rPr lang="en-US" sz="1401">
                <a:solidFill>
                  <a:schemeClr val="tx1">
                    <a:lumMod val="50000"/>
                    <a:lumOff val="50000"/>
                  </a:schemeClr>
                </a:solidFill>
              </a:rPr>
              <a:t>Since “Snap to shape” is activated by default, cropping will be easy and accurate</a:t>
            </a:r>
          </a:p>
        </p:txBody>
      </p:sp>
      <p:sp>
        <p:nvSpPr>
          <p:cNvPr id="12" name="Slide Number Placeholder 5">
            <a:extLst>
              <a:ext uri="{FF2B5EF4-FFF2-40B4-BE49-F238E27FC236}">
                <a16:creationId xmlns:a16="http://schemas.microsoft.com/office/drawing/2014/main" id="{AD815593-715C-498A-8F76-C6E0992D9C6A}"/>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8703834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5" y="1463042"/>
            <a:ext cx="5388864" cy="502601"/>
          </a:xfrm>
          <a:solidFill>
            <a:schemeClr val="tx1"/>
          </a:solidFill>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5" y="2057400"/>
            <a:ext cx="5388864" cy="3794760"/>
          </a:xfrm>
          <a:solidFill>
            <a:schemeClr val="bg2"/>
          </a:solidFill>
        </p:spPr>
        <p:txBody>
          <a:bodyPr lIns="91440" tIns="91440" rIns="137160" bIns="91440"/>
          <a:lstStyle>
            <a:lvl1pPr marL="228604" indent="-228604">
              <a:spcBef>
                <a:spcPts val="1200"/>
              </a:spcBef>
              <a:buClr>
                <a:schemeClr val="tx1">
                  <a:lumMod val="75000"/>
                  <a:lumOff val="25000"/>
                </a:schemeClr>
              </a:buClr>
              <a:buFont typeface="Arial"/>
              <a:buChar char="•"/>
              <a:defRPr sz="1801" b="0">
                <a:solidFill>
                  <a:schemeClr val="tx1">
                    <a:lumMod val="75000"/>
                    <a:lumOff val="25000"/>
                  </a:schemeClr>
                </a:solidFill>
              </a:defRPr>
            </a:lvl1pPr>
            <a:lvl2pPr marL="457206" indent="-228604">
              <a:spcBef>
                <a:spcPts val="601"/>
              </a:spcBef>
              <a:buClr>
                <a:schemeClr val="tx1">
                  <a:lumMod val="75000"/>
                  <a:lumOff val="25000"/>
                </a:schemeClr>
              </a:buClr>
              <a:buFont typeface="Lucida Grande"/>
              <a:buChar char="–"/>
              <a:defRPr sz="1600">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600">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401">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6197600" y="1463042"/>
            <a:ext cx="5388864" cy="502601"/>
          </a:xfrm>
          <a:solidFill>
            <a:schemeClr val="tx2"/>
          </a:solidFill>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7600" y="2057400"/>
            <a:ext cx="5388864" cy="3794760"/>
          </a:xfrm>
          <a:solidFill>
            <a:schemeClr val="bg2"/>
          </a:solidFill>
        </p:spPr>
        <p:txBody>
          <a:bodyPr lIns="91440" tIns="91440" rIns="137160" bIns="91440"/>
          <a:lstStyle>
            <a:lvl1pPr marL="228604" indent="-228604">
              <a:spcBef>
                <a:spcPts val="1200"/>
              </a:spcBef>
              <a:buClr>
                <a:schemeClr val="tx1">
                  <a:lumMod val="75000"/>
                  <a:lumOff val="25000"/>
                </a:schemeClr>
              </a:buClr>
              <a:buFont typeface="Arial"/>
              <a:buChar char="•"/>
              <a:defRPr sz="1801" b="0">
                <a:solidFill>
                  <a:schemeClr val="tx1">
                    <a:lumMod val="75000"/>
                    <a:lumOff val="25000"/>
                  </a:schemeClr>
                </a:solidFill>
              </a:defRPr>
            </a:lvl1pPr>
            <a:lvl2pPr marL="457206" indent="-228604">
              <a:spcBef>
                <a:spcPts val="601"/>
              </a:spcBef>
              <a:buClr>
                <a:schemeClr val="tx1">
                  <a:lumMod val="75000"/>
                  <a:lumOff val="25000"/>
                </a:schemeClr>
              </a:buClr>
              <a:buFont typeface="Lucida Grande"/>
              <a:buChar char="–"/>
              <a:defRPr sz="1600">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600">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401">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Slide Number Placeholder 5">
            <a:extLst>
              <a:ext uri="{FF2B5EF4-FFF2-40B4-BE49-F238E27FC236}">
                <a16:creationId xmlns:a16="http://schemas.microsoft.com/office/drawing/2014/main" id="{B7644777-3B3D-4372-AFA6-DE92D405B32E}"/>
              </a:ext>
            </a:extLst>
          </p:cNvPr>
          <p:cNvSpPr>
            <a:spLocks noGrp="1"/>
          </p:cNvSpPr>
          <p:nvPr>
            <p:ph type="sldNum" sz="quarter" idx="10"/>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0037100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 Comparison">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5" y="1463042"/>
            <a:ext cx="3572256" cy="502601"/>
          </a:xfrm>
          <a:solidFill>
            <a:schemeClr val="tx1"/>
          </a:solidFill>
        </p:spPr>
        <p:txBody>
          <a:bodyPr lIns="91440" anchor="ctr" anchorCtr="0"/>
          <a:lstStyle>
            <a:lvl1pPr marL="0" indent="0">
              <a:buNone/>
              <a:defRPr sz="1401"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5" y="2057400"/>
            <a:ext cx="3572256" cy="3794760"/>
          </a:xfrm>
          <a:solidFill>
            <a:schemeClr val="bg2"/>
          </a:solidFill>
        </p:spPr>
        <p:txBody>
          <a:bodyPr lIns="91440" tIns="91440" rIns="137160" bIns="91440"/>
          <a:lstStyle>
            <a:lvl1pPr marL="182882" indent="-182882">
              <a:spcBef>
                <a:spcPts val="1200"/>
              </a:spcBef>
              <a:buClr>
                <a:schemeClr val="tx1">
                  <a:lumMod val="75000"/>
                  <a:lumOff val="25000"/>
                </a:schemeClr>
              </a:buClr>
              <a:buFont typeface="Arial"/>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Lucida Grande"/>
              <a:buChar char="–"/>
              <a:defRPr sz="1401">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401">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200">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4309876" y="1463042"/>
            <a:ext cx="3572256" cy="502601"/>
          </a:xfrm>
          <a:solidFill>
            <a:schemeClr val="tx2"/>
          </a:solidFill>
        </p:spPr>
        <p:txBody>
          <a:bodyPr lIns="91440" anchor="ctr" anchorCtr="0"/>
          <a:lstStyle>
            <a:lvl1pPr marL="0" indent="0">
              <a:buNone/>
              <a:defRPr sz="1401"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309876" y="2057400"/>
            <a:ext cx="3572256" cy="3794760"/>
          </a:xfrm>
          <a:solidFill>
            <a:schemeClr val="bg2"/>
          </a:solidFill>
        </p:spPr>
        <p:txBody>
          <a:bodyPr lIns="91440" tIns="91440" rIns="137160" bIns="91440"/>
          <a:lstStyle>
            <a:lvl1pPr marL="228604" indent="-182882">
              <a:spcBef>
                <a:spcPts val="1200"/>
              </a:spcBef>
              <a:buClr>
                <a:schemeClr val="tx1">
                  <a:lumMod val="75000"/>
                  <a:lumOff val="25000"/>
                </a:schemeClr>
              </a:buClr>
              <a:buFont typeface="Arial"/>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Lucida Grande"/>
              <a:buChar char="–"/>
              <a:defRPr sz="1401">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401">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200">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9"/>
          <p:cNvSpPr>
            <a:spLocks noGrp="1"/>
          </p:cNvSpPr>
          <p:nvPr>
            <p:ph sz="quarter" idx="13"/>
          </p:nvPr>
        </p:nvSpPr>
        <p:spPr>
          <a:xfrm>
            <a:off x="8010144" y="2057402"/>
            <a:ext cx="3572256" cy="3794125"/>
          </a:xfrm>
          <a:solidFill>
            <a:schemeClr val="bg2"/>
          </a:solidFill>
        </p:spPr>
        <p:txBody>
          <a:bodyPr lIns="91440" tIns="91440" rIns="137160" bIns="91440"/>
          <a:lstStyle>
            <a:lvl1pPr marL="228604" indent="-182882">
              <a:spcBef>
                <a:spcPts val="1200"/>
              </a:spcBef>
              <a:buClr>
                <a:schemeClr val="tx1">
                  <a:lumMod val="75000"/>
                  <a:lumOff val="25000"/>
                </a:schemeClr>
              </a:buClr>
              <a:buFont typeface="Arial" panose="020B0604020202020204" pitchFamily="34" charset="0"/>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Arial" panose="020B0604020202020204" pitchFamily="34" charset="0"/>
              <a:buChar char="–"/>
              <a:defRPr sz="1401" b="0">
                <a:solidFill>
                  <a:schemeClr val="tx1">
                    <a:lumMod val="75000"/>
                    <a:lumOff val="25000"/>
                  </a:schemeClr>
                </a:solidFill>
              </a:defRPr>
            </a:lvl2pPr>
            <a:lvl3pPr marL="731529" indent="-182882">
              <a:spcBef>
                <a:spcPts val="601"/>
              </a:spcBef>
              <a:buClr>
                <a:schemeClr val="tx1">
                  <a:lumMod val="75000"/>
                  <a:lumOff val="25000"/>
                </a:schemeClr>
              </a:buClr>
              <a:buFont typeface="Arial" panose="020B0604020202020204" pitchFamily="34" charset="0"/>
              <a:buChar char="•"/>
              <a:defRPr sz="1401" b="0">
                <a:solidFill>
                  <a:schemeClr val="tx1">
                    <a:lumMod val="75000"/>
                    <a:lumOff val="25000"/>
                  </a:schemeClr>
                </a:solidFill>
              </a:defRPr>
            </a:lvl3pPr>
            <a:lvl4pPr marL="1005853" indent="-182882">
              <a:spcBef>
                <a:spcPts val="300"/>
              </a:spcBef>
              <a:buClr>
                <a:schemeClr val="tx1">
                  <a:lumMod val="75000"/>
                  <a:lumOff val="25000"/>
                </a:schemeClr>
              </a:buClr>
              <a:buFont typeface="Arial" panose="020B0604020202020204" pitchFamily="34" charset="0"/>
              <a:buChar char="»"/>
              <a:defRPr sz="1200" b="0">
                <a:solidFill>
                  <a:schemeClr val="tx1">
                    <a:lumMod val="75000"/>
                    <a:lumOff val="25000"/>
                  </a:schemeClr>
                </a:solidFill>
              </a:defRPr>
            </a:lvl4pPr>
            <a:lvl5pPr>
              <a:defRPr sz="1100" b="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p:cNvSpPr>
            <a:spLocks noGrp="1"/>
          </p:cNvSpPr>
          <p:nvPr>
            <p:ph type="body" sz="quarter" idx="14"/>
          </p:nvPr>
        </p:nvSpPr>
        <p:spPr>
          <a:xfrm>
            <a:off x="8010144" y="1463040"/>
            <a:ext cx="3568700" cy="502920"/>
          </a:xfrm>
          <a:solidFill>
            <a:schemeClr val="accent4"/>
          </a:solidFill>
        </p:spPr>
        <p:txBody>
          <a:bodyPr lIns="91440" anchor="ctr" anchorCtr="0"/>
          <a:lstStyle>
            <a:lvl1pPr>
              <a:defRPr sz="1401" cap="all" baseline="0">
                <a:solidFill>
                  <a:schemeClr val="bg1"/>
                </a:solidFill>
              </a:defRPr>
            </a:lvl1pPr>
          </a:lstStyle>
          <a:p>
            <a:pPr lvl="0"/>
            <a:r>
              <a:rPr lang="en-US"/>
              <a:t>Click to edit Master text styles</a:t>
            </a:r>
          </a:p>
        </p:txBody>
      </p:sp>
      <p:sp>
        <p:nvSpPr>
          <p:cNvPr id="14" name="Slide Number Placeholder 5">
            <a:extLst>
              <a:ext uri="{FF2B5EF4-FFF2-40B4-BE49-F238E27FC236}">
                <a16:creationId xmlns:a16="http://schemas.microsoft.com/office/drawing/2014/main" id="{73843C0E-5AA2-48F3-A0AD-2A9173F501AB}"/>
              </a:ext>
            </a:extLst>
          </p:cNvPr>
          <p:cNvSpPr>
            <a:spLocks noGrp="1"/>
          </p:cNvSpPr>
          <p:nvPr>
            <p:ph type="sldNum" sz="quarter" idx="15"/>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097747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eader and Kicker">
    <p:spTree>
      <p:nvGrpSpPr>
        <p:cNvPr id="1" name=""/>
        <p:cNvGrpSpPr/>
        <p:nvPr/>
      </p:nvGrpSpPr>
      <p:grpSpPr>
        <a:xfrm>
          <a:off x="0" y="0"/>
          <a:ext cx="0" cy="0"/>
          <a:chOff x="0" y="0"/>
          <a:chExt cx="0" cy="0"/>
        </a:xfrm>
      </p:grpSpPr>
      <p:sp>
        <p:nvSpPr>
          <p:cNvPr id="5" name="Rectangle 4"/>
          <p:cNvSpPr/>
          <p:nvPr userDrawn="1"/>
        </p:nvSpPr>
        <p:spPr>
          <a:xfrm>
            <a:off x="609604" y="2057400"/>
            <a:ext cx="10972800" cy="379476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6"/>
            <a:endParaRPr lang="en-US" sz="1801">
              <a:solidFill>
                <a:prstClr val="white"/>
              </a:solidFill>
            </a:endParaRPr>
          </a:p>
        </p:txBody>
      </p:sp>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4" y="1463042"/>
            <a:ext cx="10972800" cy="502601"/>
          </a:xfrm>
          <a:solidFill>
            <a:schemeClr val="tx1"/>
          </a:solidFill>
          <a:effectLst/>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Text Placeholder 5"/>
          <p:cNvSpPr>
            <a:spLocks noGrp="1"/>
          </p:cNvSpPr>
          <p:nvPr>
            <p:ph type="body" sz="quarter" idx="13"/>
          </p:nvPr>
        </p:nvSpPr>
        <p:spPr>
          <a:xfrm>
            <a:off x="609604" y="5394960"/>
            <a:ext cx="10972796" cy="457200"/>
          </a:xfrm>
          <a:solidFill>
            <a:schemeClr val="tx1">
              <a:lumMod val="65000"/>
              <a:lumOff val="35000"/>
            </a:schemeClr>
          </a:solidFill>
          <a:ln w="101600">
            <a:noFill/>
            <a:miter lim="800000"/>
          </a:ln>
          <a:effectLst/>
        </p:spPr>
        <p:txBody>
          <a:bodyPr lIns="91440" tIns="45720" bIns="45720" anchor="ctr" anchorCtr="0"/>
          <a:lstStyle>
            <a:lvl1pPr algn="ctr">
              <a:spcBef>
                <a:spcPts val="0"/>
              </a:spcBef>
              <a:defRPr>
                <a:solidFill>
                  <a:schemeClr val="bg1"/>
                </a:solidFill>
              </a:defRPr>
            </a:lvl1pPr>
          </a:lstStyle>
          <a:p>
            <a:pPr lvl="0"/>
            <a:r>
              <a:rPr lang="en-US"/>
              <a:t>Click to edit Master text styles</a:t>
            </a:r>
          </a:p>
        </p:txBody>
      </p:sp>
      <p:sp>
        <p:nvSpPr>
          <p:cNvPr id="10" name="Slide Number Placeholder 5">
            <a:extLst>
              <a:ext uri="{FF2B5EF4-FFF2-40B4-BE49-F238E27FC236}">
                <a16:creationId xmlns:a16="http://schemas.microsoft.com/office/drawing/2014/main" id="{10FE9BF9-1739-4DD7-A599-CB5DFD856C05}"/>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792312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ullet List">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609600" y="1744134"/>
            <a:ext cx="7315200" cy="2252796"/>
          </a:xfrm>
        </p:spPr>
        <p:txBody>
          <a:bodyPr/>
          <a:lstStyle>
            <a:lvl1pPr>
              <a:defRPr sz="1867" b="0" i="0">
                <a:latin typeface="Open Sans Light" pitchFamily="2" charset="0"/>
                <a:ea typeface="Open Sans Light" pitchFamily="2" charset="0"/>
                <a:cs typeface="Open Sans Light" pitchFamily="2" charset="0"/>
              </a:defRPr>
            </a:lvl1pPr>
            <a:lvl2pPr>
              <a:defRPr sz="1867" b="0" i="0">
                <a:latin typeface="Open Sans Light" pitchFamily="2" charset="0"/>
                <a:ea typeface="Open Sans Light" pitchFamily="2" charset="0"/>
                <a:cs typeface="Open Sans Light" pitchFamily="2" charset="0"/>
              </a:defRPr>
            </a:lvl2pPr>
            <a:lvl3pPr>
              <a:defRPr sz="1867" b="0" i="0">
                <a:latin typeface="Open Sans Light" pitchFamily="2" charset="0"/>
                <a:ea typeface="Open Sans Light" pitchFamily="2" charset="0"/>
                <a:cs typeface="Open Sans Light" pitchFamily="2" charset="0"/>
              </a:defRPr>
            </a:lvl3pPr>
            <a:lvl4pPr>
              <a:defRPr sz="1867" b="0" i="0">
                <a:latin typeface="Open Sans Light" pitchFamily="2" charset="0"/>
                <a:ea typeface="Open Sans Light" pitchFamily="2" charset="0"/>
                <a:cs typeface="Open Sans Light" pitchFamily="2" charset="0"/>
              </a:defRPr>
            </a:lvl4pPr>
            <a:lvl5pPr>
              <a:defRPr sz="1867" b="0" i="0">
                <a:latin typeface="Open Sans Light" pitchFamily="2" charset="0"/>
                <a:ea typeface="Open Sans Light" pitchFamily="2" charset="0"/>
                <a:cs typeface="Open Sans Light" pitchFamily="2" charset="0"/>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7A41C90-5ECB-21EE-9F34-0F9BBB60ADCB}"/>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157396650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446169"/>
            <a:ext cx="9509760" cy="1554480"/>
          </a:xfrm>
        </p:spPr>
        <p:txBody>
          <a:bodyPr rIns="0" anchor="t"/>
          <a:lstStyle>
            <a:lvl1pPr algn="l">
              <a:lnSpc>
                <a:spcPct val="90000"/>
              </a:lnSpc>
              <a:defRPr sz="4400" b="1" cap="none">
                <a:solidFill>
                  <a:schemeClr val="tx1"/>
                </a:solidFill>
              </a:defRPr>
            </a:lvl1pPr>
          </a:lstStyle>
          <a:p>
            <a:r>
              <a:rPr lang="en-US"/>
              <a:t>Click to edit Master title style</a:t>
            </a:r>
          </a:p>
        </p:txBody>
      </p:sp>
      <p:sp>
        <p:nvSpPr>
          <p:cNvPr id="3" name="Text Placeholder 2"/>
          <p:cNvSpPr>
            <a:spLocks noGrp="1"/>
          </p:cNvSpPr>
          <p:nvPr>
            <p:ph type="body" idx="1"/>
          </p:nvPr>
        </p:nvSpPr>
        <p:spPr bwMode="invGray">
          <a:xfrm>
            <a:off x="609600" y="2011680"/>
            <a:ext cx="4876800" cy="1005840"/>
          </a:xfrm>
        </p:spPr>
        <p:txBody>
          <a:bodyPr rIns="0" anchor="t" anchorCtr="0"/>
          <a:lstStyle>
            <a:lvl1pPr marL="0" indent="0">
              <a:spcBef>
                <a:spcPts val="601"/>
              </a:spcBef>
              <a:buNone/>
              <a:defRPr sz="2000">
                <a:solidFill>
                  <a:schemeClr val="tx1"/>
                </a:solidFill>
              </a:defRPr>
            </a:lvl1pPr>
            <a:lvl2pPr marL="457206" indent="0">
              <a:buNone/>
              <a:defRPr sz="1801">
                <a:solidFill>
                  <a:schemeClr val="tx1">
                    <a:tint val="75000"/>
                  </a:schemeClr>
                </a:solidFill>
              </a:defRPr>
            </a:lvl2pPr>
            <a:lvl3pPr marL="914411" indent="0">
              <a:buNone/>
              <a:defRPr sz="1600">
                <a:solidFill>
                  <a:schemeClr val="tx1">
                    <a:tint val="75000"/>
                  </a:schemeClr>
                </a:solidFill>
              </a:defRPr>
            </a:lvl3pPr>
            <a:lvl4pPr marL="1371617" indent="0">
              <a:buNone/>
              <a:defRPr sz="1401">
                <a:solidFill>
                  <a:schemeClr val="tx1">
                    <a:tint val="75000"/>
                  </a:schemeClr>
                </a:solidFill>
              </a:defRPr>
            </a:lvl4pPr>
            <a:lvl5pPr marL="1828823" indent="0">
              <a:buNone/>
              <a:defRPr sz="1401">
                <a:solidFill>
                  <a:schemeClr val="tx1">
                    <a:tint val="75000"/>
                  </a:schemeClr>
                </a:solidFill>
              </a:defRPr>
            </a:lvl5pPr>
            <a:lvl6pPr marL="2286029" indent="0">
              <a:buNone/>
              <a:defRPr sz="1401">
                <a:solidFill>
                  <a:schemeClr val="tx1">
                    <a:tint val="75000"/>
                  </a:schemeClr>
                </a:solidFill>
              </a:defRPr>
            </a:lvl6pPr>
            <a:lvl7pPr marL="2743234" indent="0">
              <a:buNone/>
              <a:defRPr sz="1401">
                <a:solidFill>
                  <a:schemeClr val="tx1">
                    <a:tint val="75000"/>
                  </a:schemeClr>
                </a:solidFill>
              </a:defRPr>
            </a:lvl7pPr>
            <a:lvl8pPr marL="3200440" indent="0">
              <a:buNone/>
              <a:defRPr sz="1401">
                <a:solidFill>
                  <a:schemeClr val="tx1">
                    <a:tint val="75000"/>
                  </a:schemeClr>
                </a:solidFill>
              </a:defRPr>
            </a:lvl8pPr>
            <a:lvl9pPr marL="3657646" indent="0">
              <a:buNone/>
              <a:defRPr sz="1401">
                <a:solidFill>
                  <a:schemeClr val="tx1">
                    <a:tint val="75000"/>
                  </a:schemeClr>
                </a:solidFill>
              </a:defRPr>
            </a:lvl9pPr>
          </a:lstStyle>
          <a:p>
            <a:pPr lvl="0"/>
            <a:r>
              <a:rPr lang="en-US"/>
              <a:t>Click to edit Master text styles</a:t>
            </a:r>
          </a:p>
        </p:txBody>
      </p:sp>
      <p:sp>
        <p:nvSpPr>
          <p:cNvPr id="8" name="TextBox 7"/>
          <p:cNvSpPr txBox="1"/>
          <p:nvPr userDrawn="1"/>
        </p:nvSpPr>
        <p:spPr>
          <a:xfrm>
            <a:off x="-667116" y="1693255"/>
            <a:ext cx="184731" cy="369460"/>
          </a:xfrm>
          <a:prstGeom prst="rect">
            <a:avLst/>
          </a:prstGeom>
          <a:noFill/>
        </p:spPr>
        <p:txBody>
          <a:bodyPr wrap="none" rtlCol="0">
            <a:spAutoFit/>
          </a:bodyPr>
          <a:lstStyle/>
          <a:p>
            <a:pPr defTabSz="457206"/>
            <a:endParaRPr lang="en-US" sz="1801">
              <a:solidFill>
                <a:prstClr val="black"/>
              </a:solidFill>
            </a:endParaRPr>
          </a:p>
        </p:txBody>
      </p:sp>
      <p:grpSp>
        <p:nvGrpSpPr>
          <p:cNvPr id="24" name="Group 23"/>
          <p:cNvGrpSpPr>
            <a:grpSpLocks noChangeAspect="1"/>
          </p:cNvGrpSpPr>
          <p:nvPr userDrawn="1"/>
        </p:nvGrpSpPr>
        <p:grpSpPr>
          <a:xfrm>
            <a:off x="10034016" y="6489600"/>
            <a:ext cx="1548384" cy="147738"/>
            <a:chOff x="279400" y="2781300"/>
            <a:chExt cx="8585200" cy="1092200"/>
          </a:xfrm>
        </p:grpSpPr>
        <p:sp>
          <p:nvSpPr>
            <p:cNvPr id="25"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6"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7"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8"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9"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0"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1"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2"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3"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4"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sp>
        <p:nvSpPr>
          <p:cNvPr id="18" name="Footer Placeholder 4">
            <a:extLst>
              <a:ext uri="{FF2B5EF4-FFF2-40B4-BE49-F238E27FC236}">
                <a16:creationId xmlns:a16="http://schemas.microsoft.com/office/drawing/2014/main" id="{2EE85851-4A38-46FC-86FE-570CA30DA0EE}"/>
              </a:ext>
            </a:extLst>
          </p:cNvPr>
          <p:cNvSpPr>
            <a:spLocks noGrp="1"/>
          </p:cNvSpPr>
          <p:nvPr>
            <p:ph type="ftr" sz="quarter" idx="3"/>
          </p:nvPr>
        </p:nvSpPr>
        <p:spPr bwMode="gray">
          <a:xfrm>
            <a:off x="609600" y="6492240"/>
            <a:ext cx="7315200" cy="219456"/>
          </a:xfrm>
          <a:prstGeom prst="rect">
            <a:avLst/>
          </a:prstGeom>
        </p:spPr>
        <p:txBody>
          <a:bodyPr vert="horz" lIns="0" tIns="45720" rIns="0" bIns="45720" rtlCol="0" anchor="ctr"/>
          <a:lstStyle>
            <a:lvl1pPr algn="l">
              <a:defRPr sz="800">
                <a:solidFill>
                  <a:schemeClr val="tx1">
                    <a:lumMod val="50000"/>
                    <a:lumOff val="50000"/>
                  </a:schemeClr>
                </a:solidFill>
              </a:defRPr>
            </a:lvl1pPr>
          </a:lstStyle>
          <a:p>
            <a:pPr defTabSz="457206"/>
            <a:endParaRPr lang="en-US"/>
          </a:p>
        </p:txBody>
      </p:sp>
    </p:spTree>
    <p:extLst>
      <p:ext uri="{BB962C8B-B14F-4D97-AF65-F5344CB8AC3E}">
        <p14:creationId xmlns:p14="http://schemas.microsoft.com/office/powerpoint/2010/main" val="242663384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1E6DD634-5B13-4E11-8FD0-C02B6B0F3BFC}"/>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40126040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319D63B-43D2-4D14-8E15-617CFDD71076}"/>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9502309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28801460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16" name="TextBox 15">
            <a:extLst>
              <a:ext uri="{FF2B5EF4-FFF2-40B4-BE49-F238E27FC236}">
                <a16:creationId xmlns:a16="http://schemas.microsoft.com/office/drawing/2014/main" id="{C0C1749A-B3CA-4F8A-8BEB-1BEE4A849251}"/>
              </a:ext>
            </a:extLst>
          </p:cNvPr>
          <p:cNvSpPr txBox="1"/>
          <p:nvPr userDrawn="1"/>
        </p:nvSpPr>
        <p:spPr>
          <a:xfrm>
            <a:off x="9051636" y="6503078"/>
            <a:ext cx="3726688" cy="184666"/>
          </a:xfrm>
          <a:prstGeom prst="rect">
            <a:avLst/>
          </a:prstGeom>
          <a:noFill/>
        </p:spPr>
        <p:txBody>
          <a:bodyPr wrap="square" lIns="0" tIns="0" rIns="0" bIns="0" rtlCol="0">
            <a:spAutoFit/>
          </a:bodyPr>
          <a:lstStyle/>
          <a:p>
            <a:r>
              <a:rPr lang="en-US" sz="1200">
                <a:solidFill>
                  <a:srgbClr val="FF0000"/>
                </a:solidFill>
              </a:rPr>
              <a:t>For internal discussion only</a:t>
            </a:r>
          </a:p>
        </p:txBody>
      </p:sp>
    </p:spTree>
    <p:extLst>
      <p:ext uri="{BB962C8B-B14F-4D97-AF65-F5344CB8AC3E}">
        <p14:creationId xmlns:p14="http://schemas.microsoft.com/office/powerpoint/2010/main" val="36751186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2" cy="334102"/>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Slide Number Placeholder 5">
            <a:extLst>
              <a:ext uri="{FF2B5EF4-FFF2-40B4-BE49-F238E27FC236}">
                <a16:creationId xmlns:a16="http://schemas.microsoft.com/office/drawing/2014/main" id="{5E6A3C1D-17A3-4A3D-8D2D-1BC369A55634}"/>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4916924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42185549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39B8EEA7-617C-474D-8E45-734EEF7D5C65}"/>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1800" b="0">
                <a:solidFill>
                  <a:schemeClr val="bg2">
                    <a:lumMod val="50000"/>
                  </a:schemeClr>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67A191F-BAB4-489A-9B01-AAD298EBDE1C}"/>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34774938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CareFirst__Main Title Layout_Navigation">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AEFFAF5-1C07-48C7-B8A4-6BF7F064046F}"/>
              </a:ext>
            </a:extLst>
          </p:cNvPr>
          <p:cNvSpPr>
            <a:spLocks noGrp="1"/>
          </p:cNvSpPr>
          <p:nvPr>
            <p:ph type="title"/>
          </p:nvPr>
        </p:nvSpPr>
        <p:spPr>
          <a:xfrm>
            <a:off x="469900" y="402587"/>
            <a:ext cx="11114055" cy="437168"/>
          </a:xfrm>
          <a:prstGeom prst="rect">
            <a:avLst/>
          </a:prstGeom>
        </p:spPr>
        <p:txBody>
          <a:bodyPr vert="horz" lIns="0" tIns="0" rIns="0" bIns="0" rtlCol="0" anchor="t" anchorCtr="0">
            <a:noAutofit/>
          </a:bodyPr>
          <a:lstStyle>
            <a:lvl1pPr>
              <a:defRPr sz="2600">
                <a:solidFill>
                  <a:srgbClr val="005587"/>
                </a:solidFill>
              </a:defRPr>
            </a:lvl1pPr>
          </a:lstStyle>
          <a:p>
            <a:r>
              <a:rPr lang="en-US" noProof="0"/>
              <a:t>Click to edit Master title style</a:t>
            </a:r>
          </a:p>
        </p:txBody>
      </p:sp>
      <p:sp>
        <p:nvSpPr>
          <p:cNvPr id="7" name="Text Placeholder 8">
            <a:extLst>
              <a:ext uri="{FF2B5EF4-FFF2-40B4-BE49-F238E27FC236}">
                <a16:creationId xmlns:a16="http://schemas.microsoft.com/office/drawing/2014/main" id="{DA9CC794-4B00-46AF-93FE-57191439A0BC}"/>
              </a:ext>
            </a:extLst>
          </p:cNvPr>
          <p:cNvSpPr>
            <a:spLocks noGrp="1"/>
          </p:cNvSpPr>
          <p:nvPr>
            <p:ph type="body" sz="quarter" idx="13" hasCustomPrompt="1"/>
          </p:nvPr>
        </p:nvSpPr>
        <p:spPr>
          <a:xfrm>
            <a:off x="469900" y="848649"/>
            <a:ext cx="11118720" cy="280900"/>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1148004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1703181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Content Placeholder 7">
            <a:extLst>
              <a:ext uri="{FF2B5EF4-FFF2-40B4-BE49-F238E27FC236}">
                <a16:creationId xmlns:a16="http://schemas.microsoft.com/office/drawing/2014/main" id="{4F63E328-8C9C-DE2A-7308-E8BBCD69BEFA}"/>
              </a:ext>
            </a:extLst>
          </p:cNvPr>
          <p:cNvSpPr>
            <a:spLocks noGrp="1"/>
          </p:cNvSpPr>
          <p:nvPr>
            <p:ph sz="quarter" idx="11" hasCustomPrompt="1"/>
          </p:nvPr>
        </p:nvSpPr>
        <p:spPr>
          <a:xfrm>
            <a:off x="609601" y="1744134"/>
            <a:ext cx="6316276"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B2E75EFE-336F-8122-928E-E0E85EA4EA10}"/>
              </a:ext>
            </a:extLst>
          </p:cNvPr>
          <p:cNvSpPr>
            <a:spLocks noGrp="1"/>
          </p:cNvSpPr>
          <p:nvPr>
            <p:ph type="title" hasCustomPrompt="1"/>
          </p:nvPr>
        </p:nvSpPr>
        <p:spPr>
          <a:xfrm>
            <a:off x="625927" y="641802"/>
            <a:ext cx="6316276" cy="584775"/>
          </a:xfrm>
        </p:spPr>
        <p:txBody>
          <a:bodyPr/>
          <a:lstStyle/>
          <a:p>
            <a:r>
              <a:rPr lang="en-US"/>
              <a:t>CLICK TO EDIT TITLE STYLE</a:t>
            </a:r>
          </a:p>
        </p:txBody>
      </p:sp>
      <p:sp>
        <p:nvSpPr>
          <p:cNvPr id="3" name="Picture Placeholder 2">
            <a:extLst>
              <a:ext uri="{FF2B5EF4-FFF2-40B4-BE49-F238E27FC236}">
                <a16:creationId xmlns:a16="http://schemas.microsoft.com/office/drawing/2014/main" id="{C20C6CCC-8AA2-B4C9-2718-27DD013B166E}"/>
              </a:ext>
            </a:extLst>
          </p:cNvPr>
          <p:cNvSpPr>
            <a:spLocks noGrp="1"/>
          </p:cNvSpPr>
          <p:nvPr>
            <p:ph type="pic" sz="quarter" idx="12"/>
          </p:nvPr>
        </p:nvSpPr>
        <p:spPr>
          <a:xfrm>
            <a:off x="7437968" y="0"/>
            <a:ext cx="4754033" cy="532262"/>
          </a:xfrm>
        </p:spPr>
        <p:txBody>
          <a:bodyPr/>
          <a:lstStyle/>
          <a:p>
            <a:r>
              <a:rPr lang="en-US"/>
              <a:t>Click icon to add picture</a:t>
            </a:r>
          </a:p>
        </p:txBody>
      </p:sp>
    </p:spTree>
    <p:extLst>
      <p:ext uri="{BB962C8B-B14F-4D97-AF65-F5344CB8AC3E}">
        <p14:creationId xmlns:p14="http://schemas.microsoft.com/office/powerpoint/2010/main" val="159051800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77333977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Tree>
    <p:extLst>
      <p:ext uri="{BB962C8B-B14F-4D97-AF65-F5344CB8AC3E}">
        <p14:creationId xmlns:p14="http://schemas.microsoft.com/office/powerpoint/2010/main" val="9882559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101630414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desk with a laptop and other supplies.&#10;&#10;Description automatically generated">
            <a:extLst>
              <a:ext uri="{FF2B5EF4-FFF2-40B4-BE49-F238E27FC236}">
                <a16:creationId xmlns:a16="http://schemas.microsoft.com/office/drawing/2014/main" id="{DA9E624C-4733-4D73-92DF-7BBADBDA155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711840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4319948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805698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652298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and Content">
    <p:bg>
      <p:bgPr>
        <a:solidFill>
          <a:schemeClr val="bg1"/>
        </a:solidFill>
        <a:effectLst/>
      </p:bgPr>
    </p:bg>
    <p:spTree>
      <p:nvGrpSpPr>
        <p:cNvPr id="1" name=""/>
        <p:cNvGrpSpPr/>
        <p:nvPr/>
      </p:nvGrpSpPr>
      <p:grpSpPr>
        <a:xfrm>
          <a:off x="0" y="0"/>
          <a:ext cx="0" cy="0"/>
          <a:chOff x="0" y="0"/>
          <a:chExt cx="0" cy="0"/>
        </a:xfrm>
      </p:grpSpPr>
      <p:sp>
        <p:nvSpPr>
          <p:cNvPr id="9" name="Content Placeholder 7">
            <a:extLst>
              <a:ext uri="{FF2B5EF4-FFF2-40B4-BE49-F238E27FC236}">
                <a16:creationId xmlns:a16="http://schemas.microsoft.com/office/drawing/2014/main" id="{4F63E328-8C9C-DE2A-7308-E8BBCD69BEFA}"/>
              </a:ext>
            </a:extLst>
          </p:cNvPr>
          <p:cNvSpPr>
            <a:spLocks noGrp="1"/>
          </p:cNvSpPr>
          <p:nvPr>
            <p:ph sz="quarter" idx="11" hasCustomPrompt="1"/>
          </p:nvPr>
        </p:nvSpPr>
        <p:spPr>
          <a:xfrm>
            <a:off x="609600" y="1744134"/>
            <a:ext cx="6592901" cy="2252796"/>
          </a:xfrm>
        </p:spPr>
        <p:txBody>
          <a:bodyPr/>
          <a:lstStyle>
            <a:lvl1pPr>
              <a:defRPr sz="1867" b="1">
                <a:solidFill>
                  <a:schemeClr val="tx1"/>
                </a:solidFill>
              </a:defRPr>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90EDEE5A-694C-C4D4-2519-94E57145AE4D}"/>
              </a:ext>
            </a:extLst>
          </p:cNvPr>
          <p:cNvSpPr>
            <a:spLocks/>
          </p:cNvSpPr>
          <p:nvPr/>
        </p:nvSpPr>
        <p:spPr>
          <a:xfrm>
            <a:off x="8342490" y="0"/>
            <a:ext cx="3849511" cy="6858000"/>
          </a:xfrm>
          <a:prstGeom prst="rect">
            <a:avLst/>
          </a:prstGeom>
          <a:blipFill dpi="0" rotWithShape="1">
            <a:blip r:embed="rId2"/>
            <a:srcRect/>
            <a:stretch>
              <a:fillRect l="-102790" r="-64464"/>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 name="Title 2">
            <a:extLst>
              <a:ext uri="{FF2B5EF4-FFF2-40B4-BE49-F238E27FC236}">
                <a16:creationId xmlns:a16="http://schemas.microsoft.com/office/drawing/2014/main" id="{1E7514D8-5214-F82C-BCBF-B5E202DCD667}"/>
              </a:ext>
            </a:extLst>
          </p:cNvPr>
          <p:cNvSpPr>
            <a:spLocks noGrp="1"/>
          </p:cNvSpPr>
          <p:nvPr>
            <p:ph type="title" hasCustomPrompt="1"/>
          </p:nvPr>
        </p:nvSpPr>
        <p:spPr>
          <a:xfrm>
            <a:off x="625927" y="641802"/>
            <a:ext cx="6576575" cy="584775"/>
          </a:xfrm>
        </p:spPr>
        <p:txBody>
          <a:bodyPr/>
          <a:lstStyle/>
          <a:p>
            <a:r>
              <a:rPr lang="en-US"/>
              <a:t>CLICK TO EDIT TITLE STYLE</a:t>
            </a:r>
          </a:p>
        </p:txBody>
      </p:sp>
    </p:spTree>
    <p:extLst>
      <p:ext uri="{BB962C8B-B14F-4D97-AF65-F5344CB8AC3E}">
        <p14:creationId xmlns:p14="http://schemas.microsoft.com/office/powerpoint/2010/main" val="108292341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STYLE</a:t>
            </a:r>
          </a:p>
        </p:txBody>
      </p:sp>
      <p:sp>
        <p:nvSpPr>
          <p:cNvPr id="9" name="Text Placeholder 8"/>
          <p:cNvSpPr>
            <a:spLocks noGrp="1"/>
          </p:cNvSpPr>
          <p:nvPr>
            <p:ph type="body" sz="quarter" idx="13" hasCustomPrompt="1"/>
          </p:nvPr>
        </p:nvSpPr>
        <p:spPr>
          <a:xfrm>
            <a:off x="648928" y="2455592"/>
            <a:ext cx="5277737" cy="477438"/>
          </a:xfrm>
        </p:spPr>
        <p:txBody>
          <a:bodyPr wrap="square">
            <a:spAutoFit/>
          </a:bodyPr>
          <a:lstStyle>
            <a:lvl1pPr>
              <a:defRPr sz="1867"/>
            </a:lvl1pPr>
          </a:lstStyle>
          <a:p>
            <a:pPr lvl="0"/>
            <a:r>
              <a:rPr lang="en-US"/>
              <a:t>Click to edit text</a:t>
            </a:r>
          </a:p>
        </p:txBody>
      </p:sp>
      <p:sp>
        <p:nvSpPr>
          <p:cNvPr id="4" name="Text Placeholder 4">
            <a:extLst>
              <a:ext uri="{FF2B5EF4-FFF2-40B4-BE49-F238E27FC236}">
                <a16:creationId xmlns:a16="http://schemas.microsoft.com/office/drawing/2014/main" id="{59F63A1E-80AC-873A-7B08-C7265BB5967D}"/>
              </a:ext>
            </a:extLst>
          </p:cNvPr>
          <p:cNvSpPr>
            <a:spLocks noGrp="1"/>
          </p:cNvSpPr>
          <p:nvPr>
            <p:ph type="body" sz="quarter" idx="14" hasCustomPrompt="1"/>
          </p:nvPr>
        </p:nvSpPr>
        <p:spPr>
          <a:xfrm>
            <a:off x="648928" y="3451618"/>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6" name="Text Placeholder 8">
            <a:extLst>
              <a:ext uri="{FF2B5EF4-FFF2-40B4-BE49-F238E27FC236}">
                <a16:creationId xmlns:a16="http://schemas.microsoft.com/office/drawing/2014/main" id="{69324E9C-60EB-28A4-B685-42B2774AEFAF}"/>
              </a:ext>
            </a:extLst>
          </p:cNvPr>
          <p:cNvSpPr>
            <a:spLocks noGrp="1"/>
          </p:cNvSpPr>
          <p:nvPr>
            <p:ph type="body" sz="quarter" idx="15" hasCustomPrompt="1"/>
          </p:nvPr>
        </p:nvSpPr>
        <p:spPr>
          <a:xfrm>
            <a:off x="648928" y="4013459"/>
            <a:ext cx="5277737" cy="477438"/>
          </a:xfrm>
        </p:spPr>
        <p:txBody>
          <a:bodyPr wrap="square">
            <a:spAutoFit/>
          </a:bodyPr>
          <a:lstStyle>
            <a:lvl1pPr>
              <a:defRPr sz="1867"/>
            </a:lvl1pPr>
          </a:lstStyle>
          <a:p>
            <a:pPr lvl="0"/>
            <a:r>
              <a:rPr lang="en-US"/>
              <a:t>Click to edit text</a:t>
            </a:r>
          </a:p>
        </p:txBody>
      </p:sp>
      <p:sp>
        <p:nvSpPr>
          <p:cNvPr id="11" name="Text Placeholder 8">
            <a:extLst>
              <a:ext uri="{FF2B5EF4-FFF2-40B4-BE49-F238E27FC236}">
                <a16:creationId xmlns:a16="http://schemas.microsoft.com/office/drawing/2014/main" id="{BD8CB4E0-D660-D5F2-909F-028F7EFFCD95}"/>
              </a:ext>
            </a:extLst>
          </p:cNvPr>
          <p:cNvSpPr>
            <a:spLocks noGrp="1"/>
          </p:cNvSpPr>
          <p:nvPr>
            <p:ph type="body" sz="quarter" idx="17" hasCustomPrompt="1"/>
          </p:nvPr>
        </p:nvSpPr>
        <p:spPr>
          <a:xfrm>
            <a:off x="6270794" y="2455592"/>
            <a:ext cx="5277737" cy="477438"/>
          </a:xfrm>
        </p:spPr>
        <p:txBody>
          <a:bodyPr wrap="square">
            <a:spAutoFit/>
          </a:bodyPr>
          <a:lstStyle>
            <a:lvl1pPr>
              <a:defRPr sz="1867"/>
            </a:lvl1pPr>
          </a:lstStyle>
          <a:p>
            <a:pPr lvl="0"/>
            <a:r>
              <a:rPr lang="en-US"/>
              <a:t>Click to edit text</a:t>
            </a:r>
          </a:p>
        </p:txBody>
      </p:sp>
      <p:sp>
        <p:nvSpPr>
          <p:cNvPr id="13" name="Text Placeholder 8">
            <a:extLst>
              <a:ext uri="{FF2B5EF4-FFF2-40B4-BE49-F238E27FC236}">
                <a16:creationId xmlns:a16="http://schemas.microsoft.com/office/drawing/2014/main" id="{0D09874F-B2CF-BD5A-EE3E-7444C4E16C88}"/>
              </a:ext>
            </a:extLst>
          </p:cNvPr>
          <p:cNvSpPr>
            <a:spLocks noGrp="1"/>
          </p:cNvSpPr>
          <p:nvPr>
            <p:ph type="body" sz="quarter" idx="19" hasCustomPrompt="1"/>
          </p:nvPr>
        </p:nvSpPr>
        <p:spPr>
          <a:xfrm>
            <a:off x="6270794" y="4013459"/>
            <a:ext cx="5277737" cy="477438"/>
          </a:xfrm>
        </p:spPr>
        <p:txBody>
          <a:bodyPr wrap="square">
            <a:spAutoFit/>
          </a:bodyPr>
          <a:lstStyle>
            <a:lvl1pPr>
              <a:defRPr sz="1867"/>
            </a:lvl1pPr>
          </a:lstStyle>
          <a:p>
            <a:pPr lvl="0"/>
            <a:r>
              <a:rPr lang="en-US"/>
              <a:t>Click to edit text</a:t>
            </a:r>
          </a:p>
        </p:txBody>
      </p:sp>
      <p:sp>
        <p:nvSpPr>
          <p:cNvPr id="3" name="Text Placeholder 4">
            <a:extLst>
              <a:ext uri="{FF2B5EF4-FFF2-40B4-BE49-F238E27FC236}">
                <a16:creationId xmlns:a16="http://schemas.microsoft.com/office/drawing/2014/main" id="{0C492763-7F70-C5FA-0820-3577947AC99F}"/>
              </a:ext>
            </a:extLst>
          </p:cNvPr>
          <p:cNvSpPr>
            <a:spLocks noGrp="1"/>
          </p:cNvSpPr>
          <p:nvPr>
            <p:ph type="body" sz="quarter" idx="20" hasCustomPrompt="1"/>
          </p:nvPr>
        </p:nvSpPr>
        <p:spPr>
          <a:xfrm>
            <a:off x="648928" y="1884075"/>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8" name="Text Placeholder 4">
            <a:extLst>
              <a:ext uri="{FF2B5EF4-FFF2-40B4-BE49-F238E27FC236}">
                <a16:creationId xmlns:a16="http://schemas.microsoft.com/office/drawing/2014/main" id="{FDDAFFA5-C05C-EA69-DBA3-676A18E8CEF7}"/>
              </a:ext>
            </a:extLst>
          </p:cNvPr>
          <p:cNvSpPr>
            <a:spLocks noGrp="1"/>
          </p:cNvSpPr>
          <p:nvPr>
            <p:ph type="body" sz="quarter" idx="21" hasCustomPrompt="1"/>
          </p:nvPr>
        </p:nvSpPr>
        <p:spPr>
          <a:xfrm>
            <a:off x="6263396" y="3451618"/>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10" name="Text Placeholder 4">
            <a:extLst>
              <a:ext uri="{FF2B5EF4-FFF2-40B4-BE49-F238E27FC236}">
                <a16:creationId xmlns:a16="http://schemas.microsoft.com/office/drawing/2014/main" id="{DFEE20B9-CD1F-8C9B-BEA0-B9D319CCC211}"/>
              </a:ext>
            </a:extLst>
          </p:cNvPr>
          <p:cNvSpPr>
            <a:spLocks noGrp="1"/>
          </p:cNvSpPr>
          <p:nvPr>
            <p:ph type="body" sz="quarter" idx="22" hasCustomPrompt="1"/>
          </p:nvPr>
        </p:nvSpPr>
        <p:spPr>
          <a:xfrm>
            <a:off x="6263396" y="1884075"/>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Tree>
    <p:extLst>
      <p:ext uri="{BB962C8B-B14F-4D97-AF65-F5344CB8AC3E}">
        <p14:creationId xmlns:p14="http://schemas.microsoft.com/office/powerpoint/2010/main" val="50649716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34" Type="http://schemas.openxmlformats.org/officeDocument/2006/relationships/tags" Target="../tags/tag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theme" Target="../theme/theme2.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image" Target="../media/image4.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oleObject" Target="../embeddings/oleObject1.bin"/><Relationship Id="rId8"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theme" Target="../theme/theme3.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slideLayout" Target="../slideLayouts/slideLayout74.xml"/><Relationship Id="rId1" Type="http://schemas.openxmlformats.org/officeDocument/2006/relationships/slideLayout" Target="../slideLayouts/slideLayout73.xml"/><Relationship Id="rId5" Type="http://schemas.openxmlformats.org/officeDocument/2006/relationships/image" Target="../media/image13.emf"/><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theme" Target="../theme/theme5.xml"/><Relationship Id="rId1"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625927" y="641802"/>
            <a:ext cx="10894141" cy="584775"/>
          </a:xfrm>
          <a:prstGeom prst="rect">
            <a:avLst/>
          </a:prstGeom>
        </p:spPr>
        <p:txBody>
          <a:bodyPr vert="horz" wrap="square" lIns="91440" tIns="45720" rIns="91440" bIns="45720" rtlCol="0" anchor="t" anchorCtr="0">
            <a:spAutoFit/>
          </a:bodyPr>
          <a:lstStyle/>
          <a:p>
            <a:r>
              <a:rPr lang="en-US"/>
              <a:t>CLICK TO EDIT HEADER STYLE</a:t>
            </a:r>
          </a:p>
        </p:txBody>
      </p:sp>
      <p:sp>
        <p:nvSpPr>
          <p:cNvPr id="6" name="Text Placeholder 5"/>
          <p:cNvSpPr>
            <a:spLocks noGrp="1"/>
          </p:cNvSpPr>
          <p:nvPr>
            <p:ph type="body" idx="1"/>
          </p:nvPr>
        </p:nvSpPr>
        <p:spPr>
          <a:xfrm>
            <a:off x="625927" y="1529769"/>
            <a:ext cx="10894141" cy="2375522"/>
          </a:xfrm>
          <a:prstGeom prst="rect">
            <a:avLst/>
          </a:prstGeom>
        </p:spPr>
        <p:txBody>
          <a:bodyPr vert="horz" wrap="square" lIns="137160" tIns="45720" rIns="91440" bIns="45720" rtlCol="0">
            <a:spAutoFit/>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67DCE893-6A75-F770-3EBA-345A9472F0A7}"/>
              </a:ext>
            </a:extLst>
          </p:cNvPr>
          <p:cNvSpPr txBox="1"/>
          <p:nvPr/>
        </p:nvSpPr>
        <p:spPr>
          <a:xfrm>
            <a:off x="381193" y="6409578"/>
            <a:ext cx="4274987" cy="235898"/>
          </a:xfrm>
          <a:prstGeom prst="rect">
            <a:avLst/>
          </a:prstGeom>
          <a:noFill/>
        </p:spPr>
        <p:txBody>
          <a:bodyPr wrap="square">
            <a:spAutoFit/>
          </a:bodyPr>
          <a:lstStyle/>
          <a:p>
            <a:r>
              <a:rPr lang="en-US" sz="933" b="0" i="0" spc="27" baseline="0" dirty="0">
                <a:solidFill>
                  <a:schemeClr val="tx1">
                    <a:lumMod val="65000"/>
                    <a:lumOff val="35000"/>
                  </a:schemeClr>
                </a:solidFill>
                <a:latin typeface="Uni Sans Book" pitchFamily="2" charset="77"/>
                <a:ea typeface="Open Sans Light" panose="020B0306030504020204" pitchFamily="34" charset="0"/>
                <a:cs typeface="Open Sans Light" panose="020B0306030504020204" pitchFamily="34" charset="0"/>
              </a:rPr>
              <a:t> FOSTER SCHOOL OF BUSINESS, UNIVERSITY OF WASHINGTON</a:t>
            </a:r>
            <a:endParaRPr lang="en-US" sz="2133" b="0" spc="27" baseline="0" dirty="0">
              <a:solidFill>
                <a:schemeClr val="tx1">
                  <a:lumMod val="65000"/>
                  <a:lumOff val="35000"/>
                </a:schemeClr>
              </a:solidFill>
              <a:latin typeface="Uni Sans Book" pitchFamily="2" charset="77"/>
            </a:endParaRPr>
          </a:p>
        </p:txBody>
      </p:sp>
      <p:sp>
        <p:nvSpPr>
          <p:cNvPr id="27" name="TextBox 26">
            <a:extLst>
              <a:ext uri="{FF2B5EF4-FFF2-40B4-BE49-F238E27FC236}">
                <a16:creationId xmlns:a16="http://schemas.microsoft.com/office/drawing/2014/main" id="{1EB5DED1-6392-63AA-0761-1325CD3A98B5}"/>
              </a:ext>
            </a:extLst>
          </p:cNvPr>
          <p:cNvSpPr txBox="1"/>
          <p:nvPr/>
        </p:nvSpPr>
        <p:spPr>
          <a:xfrm>
            <a:off x="8243235" y="6409577"/>
            <a:ext cx="3427347" cy="235898"/>
          </a:xfrm>
          <a:prstGeom prst="rect">
            <a:avLst/>
          </a:prstGeom>
          <a:noFill/>
        </p:spPr>
        <p:txBody>
          <a:bodyPr wrap="square">
            <a:spAutoFit/>
          </a:bodyPr>
          <a:lstStyle/>
          <a:p>
            <a:pPr algn="r"/>
            <a:r>
              <a:rPr lang="en-US" sz="933" b="0" i="0" dirty="0" err="1">
                <a:solidFill>
                  <a:schemeClr val="tx1">
                    <a:lumMod val="65000"/>
                    <a:lumOff val="35000"/>
                  </a:schemeClr>
                </a:solidFill>
                <a:latin typeface="Encode Sans Normal Medium" panose="02000000000000000000" pitchFamily="2" charset="77"/>
                <a:ea typeface="Open Sans Light" panose="020B0306030504020204" pitchFamily="34" charset="0"/>
                <a:cs typeface="Open Sans Light" panose="020B0306030504020204" pitchFamily="34" charset="0"/>
              </a:rPr>
              <a:t>foster.uw.edu</a:t>
            </a:r>
            <a:endParaRPr lang="en-US" sz="2133" b="0" i="0" dirty="0">
              <a:solidFill>
                <a:schemeClr val="tx1">
                  <a:lumMod val="65000"/>
                  <a:lumOff val="35000"/>
                </a:schemeClr>
              </a:solidFill>
              <a:latin typeface="Encode Sans Normal Medium" panose="02000000000000000000" pitchFamily="2" charset="77"/>
            </a:endParaRPr>
          </a:p>
        </p:txBody>
      </p:sp>
      <p:cxnSp>
        <p:nvCxnSpPr>
          <p:cNvPr id="29" name="Straight Connector 28">
            <a:extLst>
              <a:ext uri="{FF2B5EF4-FFF2-40B4-BE49-F238E27FC236}">
                <a16:creationId xmlns:a16="http://schemas.microsoft.com/office/drawing/2014/main" id="{AF715F98-A0BC-AA2E-45A5-62072B08C576}"/>
              </a:ext>
            </a:extLst>
          </p:cNvPr>
          <p:cNvCxnSpPr>
            <a:cxnSpLocks/>
          </p:cNvCxnSpPr>
          <p:nvPr/>
        </p:nvCxnSpPr>
        <p:spPr>
          <a:xfrm>
            <a:off x="522515" y="6316617"/>
            <a:ext cx="11043559" cy="0"/>
          </a:xfrm>
          <a:prstGeom prst="line">
            <a:avLst/>
          </a:prstGeom>
          <a:ln>
            <a:solidFill>
              <a:srgbClr val="C09F29">
                <a:alpha val="34419"/>
              </a:srgb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6454173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883" r:id="rId18"/>
  </p:sldLayoutIdLst>
  <p:transition>
    <p:fade/>
  </p:transition>
  <p:txStyles>
    <p:titleStyle>
      <a:lvl1pPr algn="l" defTabSz="609585" rtl="0" eaLnBrk="1" fontAlgn="base" hangingPunct="1">
        <a:spcBef>
          <a:spcPct val="0"/>
        </a:spcBef>
        <a:spcAft>
          <a:spcPct val="0"/>
        </a:spcAft>
        <a:defRPr sz="3200" b="1" i="0" kern="1200">
          <a:solidFill>
            <a:srgbClr val="32006E"/>
          </a:solidFill>
          <a:latin typeface="Encode Sans Normal ExtraBold" panose="02000000000000000000" pitchFamily="2" charset="77"/>
          <a:ea typeface="+mj-ea"/>
          <a:cs typeface="Arial" panose="020B0604020202020204" pitchFamily="34" charset="0"/>
        </a:defRPr>
      </a:lvl1pPr>
      <a:lvl2pPr algn="ctr" defTabSz="609585" rtl="0" eaLnBrk="1" fontAlgn="base" hangingPunct="1">
        <a:spcBef>
          <a:spcPct val="0"/>
        </a:spcBef>
        <a:spcAft>
          <a:spcPct val="0"/>
        </a:spcAft>
        <a:defRPr sz="5867">
          <a:solidFill>
            <a:schemeClr val="tx1"/>
          </a:solidFill>
          <a:latin typeface="Calibri" pitchFamily="34" charset="0"/>
        </a:defRPr>
      </a:lvl2pPr>
      <a:lvl3pPr algn="ctr" defTabSz="609585" rtl="0" eaLnBrk="1" fontAlgn="base" hangingPunct="1">
        <a:spcBef>
          <a:spcPct val="0"/>
        </a:spcBef>
        <a:spcAft>
          <a:spcPct val="0"/>
        </a:spcAft>
        <a:defRPr sz="5867">
          <a:solidFill>
            <a:schemeClr val="tx1"/>
          </a:solidFill>
          <a:latin typeface="Calibri" pitchFamily="34" charset="0"/>
        </a:defRPr>
      </a:lvl3pPr>
      <a:lvl4pPr algn="ctr" defTabSz="609585" rtl="0" eaLnBrk="1" fontAlgn="base" hangingPunct="1">
        <a:spcBef>
          <a:spcPct val="0"/>
        </a:spcBef>
        <a:spcAft>
          <a:spcPct val="0"/>
        </a:spcAft>
        <a:defRPr sz="5867">
          <a:solidFill>
            <a:schemeClr val="tx1"/>
          </a:solidFill>
          <a:latin typeface="Calibri" pitchFamily="34" charset="0"/>
        </a:defRPr>
      </a:lvl4pPr>
      <a:lvl5pPr algn="ctr" defTabSz="609585" rtl="0" eaLnBrk="1" fontAlgn="base" hangingPunct="1">
        <a:spcBef>
          <a:spcPct val="0"/>
        </a:spcBef>
        <a:spcAft>
          <a:spcPct val="0"/>
        </a:spcAft>
        <a:defRPr sz="5867">
          <a:solidFill>
            <a:schemeClr val="tx1"/>
          </a:solidFill>
          <a:latin typeface="Calibri" pitchFamily="34" charset="0"/>
        </a:defRPr>
      </a:lvl5pPr>
      <a:lvl6pPr marL="609585" algn="ctr" defTabSz="609585" rtl="0" eaLnBrk="1" fontAlgn="base" hangingPunct="1">
        <a:spcBef>
          <a:spcPct val="0"/>
        </a:spcBef>
        <a:spcAft>
          <a:spcPct val="0"/>
        </a:spcAft>
        <a:defRPr sz="5867">
          <a:solidFill>
            <a:schemeClr val="tx1"/>
          </a:solidFill>
          <a:latin typeface="Calibri" pitchFamily="34" charset="0"/>
        </a:defRPr>
      </a:lvl6pPr>
      <a:lvl7pPr marL="1219170" algn="ctr" defTabSz="609585" rtl="0" eaLnBrk="1" fontAlgn="base" hangingPunct="1">
        <a:spcBef>
          <a:spcPct val="0"/>
        </a:spcBef>
        <a:spcAft>
          <a:spcPct val="0"/>
        </a:spcAft>
        <a:defRPr sz="5867">
          <a:solidFill>
            <a:schemeClr val="tx1"/>
          </a:solidFill>
          <a:latin typeface="Calibri" pitchFamily="34" charset="0"/>
        </a:defRPr>
      </a:lvl7pPr>
      <a:lvl8pPr marL="1828754" algn="ctr" defTabSz="609585" rtl="0" eaLnBrk="1" fontAlgn="base" hangingPunct="1">
        <a:spcBef>
          <a:spcPct val="0"/>
        </a:spcBef>
        <a:spcAft>
          <a:spcPct val="0"/>
        </a:spcAft>
        <a:defRPr sz="5867">
          <a:solidFill>
            <a:schemeClr val="tx1"/>
          </a:solidFill>
          <a:latin typeface="Calibri" pitchFamily="34" charset="0"/>
        </a:defRPr>
      </a:lvl8pPr>
      <a:lvl9pPr marL="2438339" algn="ctr" defTabSz="609585" rtl="0" eaLnBrk="1" fontAlgn="base" hangingPunct="1">
        <a:spcBef>
          <a:spcPct val="0"/>
        </a:spcBef>
        <a:spcAft>
          <a:spcPct val="0"/>
        </a:spcAft>
        <a:defRPr sz="5867">
          <a:solidFill>
            <a:schemeClr val="tx1"/>
          </a:solidFill>
          <a:latin typeface="Calibri" pitchFamily="34" charset="0"/>
        </a:defRPr>
      </a:lvl9pPr>
    </p:titleStyle>
    <p:bodyStyle>
      <a:lvl1pPr marL="0" indent="0" algn="l" defTabSz="609585" rtl="0" eaLnBrk="1" fontAlgn="base" hangingPunct="1">
        <a:lnSpc>
          <a:spcPct val="150000"/>
        </a:lnSpc>
        <a:spcBef>
          <a:spcPts val="0"/>
        </a:spcBef>
        <a:spcAft>
          <a:spcPts val="133"/>
        </a:spcAft>
        <a:buFont typeface="Arial" charset="0"/>
        <a:buNone/>
        <a:defRPr sz="2133"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1pPr>
      <a:lvl2pPr marL="687900" indent="-232828" algn="l" defTabSz="609585" rtl="0" eaLnBrk="1" fontAlgn="base" hangingPunct="1">
        <a:lnSpc>
          <a:spcPct val="150000"/>
        </a:lnSpc>
        <a:spcBef>
          <a:spcPts val="0"/>
        </a:spcBef>
        <a:spcAft>
          <a:spcPts val="133"/>
        </a:spcAft>
        <a:buFont typeface="Arial" panose="020B0604020202020204" pitchFamily="34" charset="0"/>
        <a:buChar char="•"/>
        <a:defRPr sz="2133"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2pPr>
      <a:lvl3pPr marL="914377" indent="-226478" algn="l" defTabSz="609585" rtl="0" eaLnBrk="1" fontAlgn="base" hangingPunct="1">
        <a:lnSpc>
          <a:spcPct val="150000"/>
        </a:lnSpc>
        <a:spcBef>
          <a:spcPts val="0"/>
        </a:spcBef>
        <a:spcAft>
          <a:spcPts val="133"/>
        </a:spcAft>
        <a:buFont typeface="Arial"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3pPr>
      <a:lvl4pPr marL="1140855" indent="-226478" algn="l" defTabSz="609585" rtl="0" eaLnBrk="1" fontAlgn="base" hangingPunct="1">
        <a:lnSpc>
          <a:spcPct val="150000"/>
        </a:lnSpc>
        <a:spcBef>
          <a:spcPts val="0"/>
        </a:spcBef>
        <a:spcAft>
          <a:spcPts val="133"/>
        </a:spcAft>
        <a:buFont typeface="Arial" panose="020B0604020202020204" pitchFamily="34"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4pPr>
      <a:lvl5pPr marL="1375799" indent="-234945" algn="l" defTabSz="609585" rtl="0" eaLnBrk="1" fontAlgn="base" hangingPunct="1">
        <a:lnSpc>
          <a:spcPct val="150000"/>
        </a:lnSpc>
        <a:spcBef>
          <a:spcPts val="0"/>
        </a:spcBef>
        <a:spcAft>
          <a:spcPts val="133"/>
        </a:spcAft>
        <a:buFont typeface="Arial" panose="020B0604020202020204" pitchFamily="34"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288">
          <p15:clr>
            <a:srgbClr val="F26B43"/>
          </p15:clr>
        </p15:guide>
        <p15:guide id="4" orient="horz" pos="279">
          <p15:clr>
            <a:srgbClr val="F26B43"/>
          </p15:clr>
        </p15:guide>
        <p15:guide id="5" orient="horz" pos="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1"/>
          <p:cNvSpPr>
            <a:spLocks noGrp="1"/>
          </p:cNvSpPr>
          <p:nvPr>
            <p:ph type="title"/>
          </p:nvPr>
        </p:nvSpPr>
        <p:spPr bwMode="gray">
          <a:xfrm>
            <a:off x="469900" y="402586"/>
            <a:ext cx="11252199" cy="692151"/>
          </a:xfrm>
          <a:prstGeom prst="rect">
            <a:avLst/>
          </a:prstGeom>
        </p:spPr>
        <p:txBody>
          <a:bodyPr vert="horz" lIns="0" tIns="0" rIns="0" bIns="0" rtlCol="0" anchor="t" anchorCtr="0">
            <a:noAutofit/>
          </a:bodyPr>
          <a:lstStyle/>
          <a:p>
            <a:pPr lvl="0">
              <a:lnSpc>
                <a:spcPct val="90000"/>
              </a:lnSpc>
            </a:pPr>
            <a:r>
              <a:rPr lang="en-US" noProof="0"/>
              <a:t>Click to edit Master title style</a:t>
            </a:r>
          </a:p>
        </p:txBody>
      </p:sp>
      <p:graphicFrame>
        <p:nvGraphicFramePr>
          <p:cNvPr id="4" name="Object 3" hidden="1"/>
          <p:cNvGraphicFramePr>
            <a:graphicFrameLocks noChangeAspect="1"/>
          </p:cNvGraphicFramePr>
          <p:nvPr>
            <p:custDataLst>
              <p:tags r:id="rId34"/>
            </p:custDataLst>
            <p:extLst>
              <p:ext uri="{D42A27DB-BD31-4B8C-83A1-F6EECF244321}">
                <p14:modId xmlns:p14="http://schemas.microsoft.com/office/powerpoint/2010/main" val="1103365643"/>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4" name="Object 3" hidden="1"/>
                      <p:cNvPicPr/>
                      <p:nvPr/>
                    </p:nvPicPr>
                    <p:blipFill>
                      <a:blip r:embed="rId36"/>
                      <a:stretch>
                        <a:fillRect/>
                      </a:stretch>
                    </p:blipFill>
                    <p:spPr>
                      <a:xfrm>
                        <a:off x="2119" y="1589"/>
                        <a:ext cx="2116" cy="1587"/>
                      </a:xfrm>
                      <a:prstGeom prst="rect">
                        <a:avLst/>
                      </a:prstGeom>
                    </p:spPr>
                  </p:pic>
                </p:oleObj>
              </mc:Fallback>
            </mc:AlternateContent>
          </a:graphicData>
        </a:graphic>
      </p:graphicFrame>
      <p:sp>
        <p:nvSpPr>
          <p:cNvPr id="12" name="TextBox 11"/>
          <p:cNvSpPr txBox="1"/>
          <p:nvPr userDrawn="1"/>
        </p:nvSpPr>
        <p:spPr>
          <a:xfrm>
            <a:off x="11410953" y="6477000"/>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b="0" i="0" noProof="0" smtClean="0">
                <a:solidFill>
                  <a:schemeClr val="tx1"/>
                </a:solidFill>
                <a:latin typeface="+mn-lt"/>
                <a:ea typeface="Open Sans Light" panose="020B0306030504020204" pitchFamily="34" charset="0"/>
                <a:cs typeface="Open Sans Light" panose="020B0306030504020204" pitchFamily="34" charset="0"/>
              </a:rPr>
              <a:pPr marL="0" indent="0" algn="r">
                <a:spcBef>
                  <a:spcPts val="800"/>
                </a:spcBef>
                <a:buSzPct val="100000"/>
                <a:buFont typeface="Arial"/>
                <a:buNone/>
              </a:pPr>
              <a:t>‹#›</a:t>
            </a:fld>
            <a:endParaRPr lang="en-US" sz="700" b="0" i="0" noProof="0">
              <a:solidFill>
                <a:schemeClr val="tx1"/>
              </a:solidFill>
              <a:latin typeface="+mn-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389984524"/>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1" r:id="rId21"/>
    <p:sldLayoutId id="2147483732" r:id="rId22"/>
    <p:sldLayoutId id="2147483733" r:id="rId23"/>
    <p:sldLayoutId id="2147483734" r:id="rId24"/>
    <p:sldLayoutId id="2147483735" r:id="rId25"/>
    <p:sldLayoutId id="2147483736" r:id="rId26"/>
    <p:sldLayoutId id="2147483737" r:id="rId27"/>
    <p:sldLayoutId id="2147483738" r:id="rId28"/>
    <p:sldLayoutId id="2147483739" r:id="rId29"/>
    <p:sldLayoutId id="2147483740" r:id="rId30"/>
    <p:sldLayoutId id="2147483741" r:id="rId31"/>
    <p:sldLayoutId id="2147483742" r:id="rId32"/>
  </p:sldLayoutIdLst>
  <p:hf hdr="0" ftr="0" dt="0"/>
  <p:txStyles>
    <p:titleStyle>
      <a:lvl1pPr algn="l" defTabSz="1219170" rtl="0" eaLnBrk="1" latinLnBrk="0" hangingPunct="1">
        <a:spcBef>
          <a:spcPct val="0"/>
        </a:spcBef>
        <a:buNone/>
        <a:defRPr lang="en-US" sz="3200" b="0" i="0" kern="1200" spc="-50" baseline="0" noProof="0" dirty="0">
          <a:solidFill>
            <a:schemeClr val="tx1"/>
          </a:solidFill>
          <a:latin typeface="+mj-lt"/>
          <a:ea typeface="Open Sans Light" panose="020B0306030504020204" pitchFamily="34" charset="0"/>
          <a:cs typeface="Open Sans Light" panose="020B0306030504020204" pitchFamily="34" charset="0"/>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Open Sans" panose="020B0606030504020204" pitchFamily="34" charset="0"/>
          <a:cs typeface="Open Sans" panose="020B0606030504020204" pitchFamily="34" charset="0"/>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Open Sans" panose="020B0606030504020204" pitchFamily="34" charset="0"/>
          <a:cs typeface="Open Sans" panose="020B060603050402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Open Sans" panose="020B0606030504020204" pitchFamily="34" charset="0"/>
          <a:cs typeface="Open Sans" panose="020B060603050402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Open Sans" panose="020B0606030504020204" pitchFamily="34" charset="0"/>
          <a:cs typeface="Open Sans" panose="020B060603050402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496">
          <p15:clr>
            <a:srgbClr val="F26B43"/>
          </p15:clr>
        </p15:guide>
        <p15:guide id="3" orient="horz" pos="3968">
          <p15:clr>
            <a:srgbClr val="F26B43"/>
          </p15:clr>
        </p15:guide>
        <p15:guide id="4" pos="288">
          <p15:clr>
            <a:srgbClr val="F26B43"/>
          </p15:clr>
        </p15:guide>
        <p15:guide id="5" pos="7392">
          <p15:clr>
            <a:srgbClr val="F26B43"/>
          </p15:clr>
        </p15:guide>
        <p15:guide id="8" orient="horz" pos="4104">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32">
          <p15:clr>
            <a:srgbClr val="F26B43"/>
          </p15:clr>
        </p15:guide>
        <p15:guide id="22" orient="horz" pos="696">
          <p15:clr>
            <a:srgbClr val="F26B43"/>
          </p15:clr>
        </p15:guide>
        <p15:guide id="23" orient="horz" pos="2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9901" y="402587"/>
            <a:ext cx="11252202" cy="334102"/>
          </a:xfrm>
          <a:prstGeom prst="rect">
            <a:avLst/>
          </a:prstGeom>
        </p:spPr>
        <p:txBody>
          <a:bodyPr vert="horz" lIns="0" tIns="0" rIns="91440" bIns="0" rtlCol="0" anchor="t" anchorCtr="0">
            <a:noAutofit/>
          </a:bodyPr>
          <a:lstStyle/>
          <a:p>
            <a:r>
              <a:rPr lang="en-US"/>
              <a:t>Click to edit Master title style</a:t>
            </a:r>
          </a:p>
        </p:txBody>
      </p:sp>
      <p:sp>
        <p:nvSpPr>
          <p:cNvPr id="3" name="Text Placeholder 2"/>
          <p:cNvSpPr>
            <a:spLocks noGrp="1"/>
          </p:cNvSpPr>
          <p:nvPr>
            <p:ph type="body" idx="1"/>
          </p:nvPr>
        </p:nvSpPr>
        <p:spPr bwMode="gray">
          <a:xfrm>
            <a:off x="609600" y="1463040"/>
            <a:ext cx="10972800" cy="4389120"/>
          </a:xfrm>
          <a:prstGeom prst="rect">
            <a:avLst/>
          </a:prstGeom>
        </p:spPr>
        <p:txBody>
          <a:bodyPr vert="horz" lIns="0" tIns="0" rIns="9144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
        <p:nvSpPr>
          <p:cNvPr id="26" name="Footer Placeholder 2">
            <a:extLst>
              <a:ext uri="{FF2B5EF4-FFF2-40B4-BE49-F238E27FC236}">
                <a16:creationId xmlns:a16="http://schemas.microsoft.com/office/drawing/2014/main" id="{98F54EEA-D9E4-49B5-99A2-9848725B000C}"/>
              </a:ext>
            </a:extLst>
          </p:cNvPr>
          <p:cNvSpPr txBox="1">
            <a:spLocks/>
          </p:cNvSpPr>
          <p:nvPr userDrawn="1"/>
        </p:nvSpPr>
        <p:spPr>
          <a:xfrm>
            <a:off x="469901" y="6638544"/>
            <a:ext cx="4586416" cy="219456"/>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4 Deloitte Development LLC. All rights reserved.</a:t>
            </a:r>
            <a:endParaRPr lang="en-US" sz="800" dirty="0">
              <a:solidFill>
                <a:prstClr val="black">
                  <a:lumMod val="50000"/>
                  <a:lumOff val="50000"/>
                </a:prst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1547121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2" r:id="rId17"/>
    <p:sldLayoutId id="2147483763" r:id="rId18"/>
    <p:sldLayoutId id="2147483764" r:id="rId19"/>
    <p:sldLayoutId id="2147483765" r:id="rId20"/>
    <p:sldLayoutId id="2147483766" r:id="rId21"/>
    <p:sldLayoutId id="2147483767" r:id="rId22"/>
  </p:sldLayoutIdLst>
  <p:hf hdr="0" ftr="0" dt="0"/>
  <p:txStyles>
    <p:titleStyle>
      <a:lvl1pPr algn="l" defTabSz="457206" rtl="0" eaLnBrk="1" latinLnBrk="0" hangingPunct="1">
        <a:lnSpc>
          <a:spcPct val="90000"/>
        </a:lnSpc>
        <a:spcBef>
          <a:spcPct val="0"/>
        </a:spcBef>
        <a:buNone/>
        <a:defRPr sz="20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457206" rtl="0" eaLnBrk="1" latinLnBrk="0" hangingPunct="1">
        <a:spcBef>
          <a:spcPts val="1801"/>
        </a:spcBef>
        <a:buClr>
          <a:srgbClr val="37BAAB"/>
        </a:buClr>
        <a:buFont typeface="Arial"/>
        <a:buNone/>
        <a:defRPr sz="180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228604" indent="-228604" algn="l" defTabSz="457206" rtl="0" eaLnBrk="1" latinLnBrk="0" hangingPunct="1">
        <a:spcBef>
          <a:spcPts val="1200"/>
        </a:spcBef>
        <a:buClr>
          <a:srgbClr val="37BAAB"/>
        </a:buClr>
        <a:buFont typeface="Arial"/>
        <a:buChar char="•"/>
        <a:defRPr sz="1801"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2pPr>
      <a:lvl3pPr marL="548647" indent="-228604" algn="l" defTabSz="457206" rtl="0" eaLnBrk="1" latinLnBrk="0" hangingPunct="1">
        <a:spcBef>
          <a:spcPts val="601"/>
        </a:spcBef>
        <a:buClr>
          <a:srgbClr val="37BAAB"/>
        </a:buClr>
        <a:buFont typeface="Lucida Grande"/>
        <a:buChar char="–"/>
        <a:defRPr sz="1600"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3pPr>
      <a:lvl4pPr marL="914411" indent="-228604" algn="l" defTabSz="457206" rtl="0" eaLnBrk="1" latinLnBrk="0" hangingPunct="1">
        <a:spcBef>
          <a:spcPts val="601"/>
        </a:spcBef>
        <a:buClr>
          <a:srgbClr val="37BAAB"/>
        </a:buClr>
        <a:buFont typeface="Arial"/>
        <a:buChar char="•"/>
        <a:defRPr sz="1600"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4pPr>
      <a:lvl5pPr marL="1234456" indent="-182882" algn="l" defTabSz="457206" rtl="0" eaLnBrk="1" latinLnBrk="0" hangingPunct="1">
        <a:spcBef>
          <a:spcPts val="300"/>
        </a:spcBef>
        <a:buClr>
          <a:srgbClr val="37BAAB"/>
        </a:buClr>
        <a:buFont typeface="Arial"/>
        <a:buChar char="»"/>
        <a:defRPr sz="1401"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5pPr>
      <a:lvl6pPr marL="2514632" indent="-228604" algn="l" defTabSz="457206" rtl="0" eaLnBrk="1" latinLnBrk="0" hangingPunct="1">
        <a:spcBef>
          <a:spcPct val="20000"/>
        </a:spcBef>
        <a:buFont typeface="Arial"/>
        <a:buChar char="•"/>
        <a:defRPr sz="2000" kern="1200">
          <a:solidFill>
            <a:schemeClr val="tx1"/>
          </a:solidFill>
          <a:latin typeface="+mn-lt"/>
          <a:ea typeface="+mn-ea"/>
          <a:cs typeface="+mn-cs"/>
        </a:defRPr>
      </a:lvl6pPr>
      <a:lvl7pPr marL="2971838" indent="-228604" algn="l" defTabSz="457206" rtl="0" eaLnBrk="1" latinLnBrk="0" hangingPunct="1">
        <a:spcBef>
          <a:spcPct val="20000"/>
        </a:spcBef>
        <a:buFont typeface="Arial"/>
        <a:buChar char="•"/>
        <a:defRPr sz="2000" kern="1200">
          <a:solidFill>
            <a:schemeClr val="tx1"/>
          </a:solidFill>
          <a:latin typeface="+mn-lt"/>
          <a:ea typeface="+mn-ea"/>
          <a:cs typeface="+mn-cs"/>
        </a:defRPr>
      </a:lvl7pPr>
      <a:lvl8pPr marL="3429044" indent="-228604" algn="l" defTabSz="457206" rtl="0" eaLnBrk="1" latinLnBrk="0" hangingPunct="1">
        <a:spcBef>
          <a:spcPct val="20000"/>
        </a:spcBef>
        <a:buFont typeface="Arial"/>
        <a:buChar char="•"/>
        <a:defRPr sz="2000" kern="1200">
          <a:solidFill>
            <a:schemeClr val="tx1"/>
          </a:solidFill>
          <a:latin typeface="+mn-lt"/>
          <a:ea typeface="+mn-ea"/>
          <a:cs typeface="+mn-cs"/>
        </a:defRPr>
      </a:lvl8pPr>
      <a:lvl9pPr marL="3886249" indent="-228604" algn="l" defTabSz="45720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6" rtl="0" eaLnBrk="1" latinLnBrk="0" hangingPunct="1">
        <a:defRPr sz="1801" kern="1200">
          <a:solidFill>
            <a:schemeClr val="tx1"/>
          </a:solidFill>
          <a:latin typeface="+mn-lt"/>
          <a:ea typeface="+mn-ea"/>
          <a:cs typeface="+mn-cs"/>
        </a:defRPr>
      </a:lvl1pPr>
      <a:lvl2pPr marL="457206" algn="l" defTabSz="457206" rtl="0" eaLnBrk="1" latinLnBrk="0" hangingPunct="1">
        <a:defRPr sz="1801" kern="1200">
          <a:solidFill>
            <a:schemeClr val="tx1"/>
          </a:solidFill>
          <a:latin typeface="+mn-lt"/>
          <a:ea typeface="+mn-ea"/>
          <a:cs typeface="+mn-cs"/>
        </a:defRPr>
      </a:lvl2pPr>
      <a:lvl3pPr marL="914411" algn="l" defTabSz="457206" rtl="0" eaLnBrk="1" latinLnBrk="0" hangingPunct="1">
        <a:defRPr sz="1801" kern="1200">
          <a:solidFill>
            <a:schemeClr val="tx1"/>
          </a:solidFill>
          <a:latin typeface="+mn-lt"/>
          <a:ea typeface="+mn-ea"/>
          <a:cs typeface="+mn-cs"/>
        </a:defRPr>
      </a:lvl3pPr>
      <a:lvl4pPr marL="1371617" algn="l" defTabSz="457206" rtl="0" eaLnBrk="1" latinLnBrk="0" hangingPunct="1">
        <a:defRPr sz="1801" kern="1200">
          <a:solidFill>
            <a:schemeClr val="tx1"/>
          </a:solidFill>
          <a:latin typeface="+mn-lt"/>
          <a:ea typeface="+mn-ea"/>
          <a:cs typeface="+mn-cs"/>
        </a:defRPr>
      </a:lvl4pPr>
      <a:lvl5pPr marL="1828823" algn="l" defTabSz="457206" rtl="0" eaLnBrk="1" latinLnBrk="0" hangingPunct="1">
        <a:defRPr sz="1801" kern="1200">
          <a:solidFill>
            <a:schemeClr val="tx1"/>
          </a:solidFill>
          <a:latin typeface="+mn-lt"/>
          <a:ea typeface="+mn-ea"/>
          <a:cs typeface="+mn-cs"/>
        </a:defRPr>
      </a:lvl5pPr>
      <a:lvl6pPr marL="2286029" algn="l" defTabSz="457206" rtl="0" eaLnBrk="1" latinLnBrk="0" hangingPunct="1">
        <a:defRPr sz="1801" kern="1200">
          <a:solidFill>
            <a:schemeClr val="tx1"/>
          </a:solidFill>
          <a:latin typeface="+mn-lt"/>
          <a:ea typeface="+mn-ea"/>
          <a:cs typeface="+mn-cs"/>
        </a:defRPr>
      </a:lvl6pPr>
      <a:lvl7pPr marL="2743234" algn="l" defTabSz="457206" rtl="0" eaLnBrk="1" latinLnBrk="0" hangingPunct="1">
        <a:defRPr sz="1801" kern="1200">
          <a:solidFill>
            <a:schemeClr val="tx1"/>
          </a:solidFill>
          <a:latin typeface="+mn-lt"/>
          <a:ea typeface="+mn-ea"/>
          <a:cs typeface="+mn-cs"/>
        </a:defRPr>
      </a:lvl7pPr>
      <a:lvl8pPr marL="3200440" algn="l" defTabSz="457206" rtl="0" eaLnBrk="1" latinLnBrk="0" hangingPunct="1">
        <a:defRPr sz="1801" kern="1200">
          <a:solidFill>
            <a:schemeClr val="tx1"/>
          </a:solidFill>
          <a:latin typeface="+mn-lt"/>
          <a:ea typeface="+mn-ea"/>
          <a:cs typeface="+mn-cs"/>
        </a:defRPr>
      </a:lvl8pPr>
      <a:lvl9pPr marL="3657646" algn="l" defTabSz="457206" rtl="0" eaLnBrk="1" latinLnBrk="0" hangingPunct="1">
        <a:defRPr sz="180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EF5EC"/>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2005164372"/>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EF5E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870229402"/>
      </p:ext>
    </p:extLst>
  </p:cSld>
  <p:clrMap bg1="lt1" tx1="dk1" bg2="lt2" tx2="dk2" accent1="accent1" accent2="accent2" accent3="accent3" accent4="accent4" accent5="accent5" accent6="accent6" hlink="hlink" folHlink="folHlink"/>
  <p:sldLayoutIdLst>
    <p:sldLayoutId id="2147483881" r:id="rId1"/>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s://www.ashercurtis.me/teaching/courses/acctg528/syllabus.html" TargetMode="Externa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hyperlink" Target="https://www.uipath.com/rpa/academic-alliance/academic-studio-download" TargetMode="External"/><Relationship Id="rId2" Type="http://schemas.openxmlformats.org/officeDocument/2006/relationships/hyperlink" Target="https://fprod-hcs.foster.uw.edu/" TargetMode="External"/><Relationship Id="rId1" Type="http://schemas.openxmlformats.org/officeDocument/2006/relationships/slideLayout" Target="../slideLayouts/slideLayout6.xml"/><Relationship Id="rId4" Type="http://schemas.openxmlformats.org/officeDocument/2006/relationships/hyperlink" Target="https://www.lucidchart.com/"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74AD50E3-743F-2ED1-9167-6F49921E6745}"/>
              </a:ext>
            </a:extLst>
          </p:cNvPr>
          <p:cNvSpPr>
            <a:spLocks noGrp="1"/>
          </p:cNvSpPr>
          <p:nvPr>
            <p:ph type="subTitle" idx="1"/>
          </p:nvPr>
        </p:nvSpPr>
        <p:spPr>
          <a:xfrm>
            <a:off x="457202" y="3617896"/>
            <a:ext cx="10350500" cy="1544654"/>
          </a:xfrm>
        </p:spPr>
        <p:txBody>
          <a:bodyPr/>
          <a:lstStyle/>
          <a:p>
            <a:r>
              <a:rPr lang="en-US" sz="3200" dirty="0"/>
              <a:t>Adv. Advisory | ACCTG 528</a:t>
            </a:r>
          </a:p>
          <a:p>
            <a:r>
              <a:rPr lang="en-US" sz="3200" dirty="0"/>
              <a:t>MPAcc Class of 2025</a:t>
            </a:r>
          </a:p>
        </p:txBody>
      </p:sp>
      <p:sp>
        <p:nvSpPr>
          <p:cNvPr id="3" name="Title 2">
            <a:extLst>
              <a:ext uri="{FF2B5EF4-FFF2-40B4-BE49-F238E27FC236}">
                <a16:creationId xmlns:a16="http://schemas.microsoft.com/office/drawing/2014/main" id="{A0397259-DAB5-AB54-FA12-2190040605BC}"/>
              </a:ext>
            </a:extLst>
          </p:cNvPr>
          <p:cNvSpPr>
            <a:spLocks noGrp="1"/>
          </p:cNvSpPr>
          <p:nvPr>
            <p:ph type="title"/>
          </p:nvPr>
        </p:nvSpPr>
        <p:spPr/>
        <p:txBody>
          <a:bodyPr/>
          <a:lstStyle/>
          <a:p>
            <a:r>
              <a:rPr lang="en-US" sz="4800" dirty="0">
                <a:latin typeface="Arial Black"/>
                <a:cs typeface="Arial"/>
              </a:rPr>
              <a:t>Advanced Cass in Advisory Services: Introduction</a:t>
            </a:r>
            <a:endParaRPr lang="en-US" dirty="0"/>
          </a:p>
        </p:txBody>
      </p:sp>
    </p:spTree>
    <p:extLst>
      <p:ext uri="{BB962C8B-B14F-4D97-AF65-F5344CB8AC3E}">
        <p14:creationId xmlns:p14="http://schemas.microsoft.com/office/powerpoint/2010/main" val="429488541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38CBBBB-1D2B-58CF-5D2F-5B971D2364E6}"/>
              </a:ext>
            </a:extLst>
          </p:cNvPr>
          <p:cNvSpPr>
            <a:spLocks noGrp="1"/>
          </p:cNvSpPr>
          <p:nvPr>
            <p:ph sz="quarter" idx="11"/>
          </p:nvPr>
        </p:nvSpPr>
        <p:spPr>
          <a:xfrm>
            <a:off x="609599" y="1744134"/>
            <a:ext cx="11303727" cy="1365117"/>
          </a:xfrm>
        </p:spPr>
        <p:txBody>
          <a:bodyPr/>
          <a:lstStyle/>
          <a:p>
            <a:r>
              <a:rPr lang="en-US" b="1" u="sng" dirty="0">
                <a:solidFill>
                  <a:schemeClr val="tx2"/>
                </a:solidFill>
                <a:hlinkClick r:id="rId2">
                  <a:extLst>
                    <a:ext uri="{A12FA001-AC4F-418D-AE19-62706E023703}">
                      <ahyp:hlinkClr xmlns:ahyp="http://schemas.microsoft.com/office/drawing/2018/hyperlinkcolor" val="tx"/>
                    </a:ext>
                  </a:extLst>
                </a:hlinkClick>
              </a:rPr>
              <a:t>https://www.ashercurtis.me/teaching/courses/acctg528/syllabus.html</a:t>
            </a:r>
            <a:endParaRPr lang="en-US" b="1" u="sng" dirty="0">
              <a:solidFill>
                <a:schemeClr val="tx2"/>
              </a:solidFill>
            </a:endParaRPr>
          </a:p>
          <a:p>
            <a:endParaRPr lang="en-US" b="1" dirty="0">
              <a:solidFill>
                <a:schemeClr val="tx2"/>
              </a:solidFill>
            </a:endParaRPr>
          </a:p>
          <a:p>
            <a:r>
              <a:rPr lang="en-US" b="1" u="sng" dirty="0">
                <a:solidFill>
                  <a:schemeClr val="tx2"/>
                </a:solidFill>
              </a:rPr>
              <a:t>https://www.ashercurtis.me/teaching/courses/mpacc/common_spring_project.html (preview version)</a:t>
            </a:r>
          </a:p>
        </p:txBody>
      </p:sp>
      <p:sp>
        <p:nvSpPr>
          <p:cNvPr id="3" name="Title 2">
            <a:extLst>
              <a:ext uri="{FF2B5EF4-FFF2-40B4-BE49-F238E27FC236}">
                <a16:creationId xmlns:a16="http://schemas.microsoft.com/office/drawing/2014/main" id="{295520FB-8036-2DD7-E85C-6C467B3BBD79}"/>
              </a:ext>
            </a:extLst>
          </p:cNvPr>
          <p:cNvSpPr>
            <a:spLocks noGrp="1"/>
          </p:cNvSpPr>
          <p:nvPr>
            <p:ph type="title"/>
          </p:nvPr>
        </p:nvSpPr>
        <p:spPr/>
        <p:txBody>
          <a:bodyPr/>
          <a:lstStyle/>
          <a:p>
            <a:r>
              <a:rPr lang="en-US" dirty="0"/>
              <a:t>Syllabus Discussion</a:t>
            </a:r>
          </a:p>
        </p:txBody>
      </p:sp>
    </p:spTree>
    <p:extLst>
      <p:ext uri="{BB962C8B-B14F-4D97-AF65-F5344CB8AC3E}">
        <p14:creationId xmlns:p14="http://schemas.microsoft.com/office/powerpoint/2010/main" val="20269477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0C5E78-E922-EEE9-1BC3-C0EF6691B25A}"/>
              </a:ext>
            </a:extLst>
          </p:cNvPr>
          <p:cNvSpPr>
            <a:spLocks noGrp="1"/>
          </p:cNvSpPr>
          <p:nvPr>
            <p:ph type="title"/>
          </p:nvPr>
        </p:nvSpPr>
        <p:spPr/>
        <p:txBody>
          <a:bodyPr/>
          <a:lstStyle/>
          <a:p>
            <a:r>
              <a:rPr lang="en-US" dirty="0"/>
              <a:t>Assessment</a:t>
            </a:r>
          </a:p>
        </p:txBody>
      </p:sp>
      <p:pic>
        <p:nvPicPr>
          <p:cNvPr id="5" name="Picture 4">
            <a:extLst>
              <a:ext uri="{FF2B5EF4-FFF2-40B4-BE49-F238E27FC236}">
                <a16:creationId xmlns:a16="http://schemas.microsoft.com/office/drawing/2014/main" id="{06829763-0067-FAFE-CF17-7CEC2083D3E6}"/>
              </a:ext>
            </a:extLst>
          </p:cNvPr>
          <p:cNvPicPr>
            <a:picLocks noChangeAspect="1"/>
          </p:cNvPicPr>
          <p:nvPr/>
        </p:nvPicPr>
        <p:blipFill>
          <a:blip r:embed="rId2"/>
          <a:stretch>
            <a:fillRect/>
          </a:stretch>
        </p:blipFill>
        <p:spPr>
          <a:xfrm>
            <a:off x="1725237" y="2095314"/>
            <a:ext cx="7992590" cy="2667372"/>
          </a:xfrm>
          <a:prstGeom prst="rect">
            <a:avLst/>
          </a:prstGeom>
        </p:spPr>
      </p:pic>
    </p:spTree>
    <p:extLst>
      <p:ext uri="{BB962C8B-B14F-4D97-AF65-F5344CB8AC3E}">
        <p14:creationId xmlns:p14="http://schemas.microsoft.com/office/powerpoint/2010/main" val="302616807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0D0F63-1AFD-BB63-7A86-378BCB2554E7}"/>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2BFF8F4A-8D43-328A-BDC7-672367613ED4}"/>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EC8AC3AF-6378-997C-134E-0A160DF359B3}"/>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304F60EA-8D73-99C5-1134-999ED07D5280}"/>
              </a:ext>
            </a:extLst>
          </p:cNvPr>
          <p:cNvSpPr txBox="1"/>
          <p:nvPr/>
        </p:nvSpPr>
        <p:spPr>
          <a:xfrm>
            <a:off x="670560" y="2177143"/>
            <a:ext cx="8534400" cy="2246769"/>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tx2">
                    <a:lumMod val="40000"/>
                    <a:lumOff val="60000"/>
                  </a:schemeClr>
                </a:solidFill>
                <a:latin typeface="+mn-lt"/>
              </a:rPr>
              <a:t>Course Overview</a:t>
            </a:r>
          </a:p>
          <a:p>
            <a:pPr marL="285750" indent="-285750">
              <a:buFont typeface="Arial" panose="020B0604020202020204" pitchFamily="34" charset="0"/>
              <a:buChar char="•"/>
            </a:pPr>
            <a:r>
              <a:rPr lang="en-US" sz="2800" dirty="0">
                <a:solidFill>
                  <a:schemeClr val="tx2">
                    <a:lumMod val="40000"/>
                    <a:lumOff val="60000"/>
                  </a:schemeClr>
                </a:solidFill>
                <a:latin typeface="+mn-lt"/>
              </a:rPr>
              <a:t>Syllabus</a:t>
            </a:r>
          </a:p>
          <a:p>
            <a:pPr marL="285750" indent="-285750">
              <a:buFont typeface="Arial" panose="020B0604020202020204" pitchFamily="34" charset="0"/>
              <a:buChar char="•"/>
            </a:pPr>
            <a:r>
              <a:rPr lang="en-US" sz="2800" b="1" dirty="0">
                <a:solidFill>
                  <a:schemeClr val="bg1"/>
                </a:solidFill>
                <a:latin typeface="+mn-lt"/>
              </a:rPr>
              <a:t>Internship Reflection</a:t>
            </a:r>
          </a:p>
          <a:p>
            <a:pPr marL="285750" indent="-285750">
              <a:buFont typeface="Arial" panose="020B0604020202020204" pitchFamily="34" charset="0"/>
              <a:buChar char="•"/>
            </a:pPr>
            <a:r>
              <a:rPr lang="en-US" sz="2800" dirty="0" err="1">
                <a:solidFill>
                  <a:schemeClr val="bg1"/>
                </a:solidFill>
                <a:latin typeface="+mn-lt"/>
              </a:rPr>
              <a:t>UIPath</a:t>
            </a:r>
            <a:r>
              <a:rPr lang="en-US" sz="2800" dirty="0">
                <a:solidFill>
                  <a:schemeClr val="bg1"/>
                </a:solidFill>
                <a:latin typeface="+mn-lt"/>
              </a:rPr>
              <a:t> Licenses</a:t>
            </a:r>
          </a:p>
          <a:p>
            <a:pPr marL="285750" indent="-285750">
              <a:buFont typeface="Arial" panose="020B0604020202020204" pitchFamily="34" charset="0"/>
              <a:buChar char="•"/>
            </a:pPr>
            <a:r>
              <a:rPr lang="en-US" sz="2800" dirty="0" err="1">
                <a:solidFill>
                  <a:schemeClr val="bg1"/>
                </a:solidFill>
                <a:latin typeface="+mn-lt"/>
              </a:rPr>
              <a:t>LucidChart</a:t>
            </a:r>
            <a:r>
              <a:rPr lang="en-US" sz="2800" dirty="0">
                <a:solidFill>
                  <a:schemeClr val="bg1"/>
                </a:solidFill>
                <a:latin typeface="+mn-lt"/>
              </a:rPr>
              <a:t> Process Maps Exercise</a:t>
            </a:r>
          </a:p>
        </p:txBody>
      </p:sp>
    </p:spTree>
    <p:extLst>
      <p:ext uri="{BB962C8B-B14F-4D97-AF65-F5344CB8AC3E}">
        <p14:creationId xmlns:p14="http://schemas.microsoft.com/office/powerpoint/2010/main" val="328822018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2123C9D-E12D-547F-0042-917AD039C113}"/>
              </a:ext>
            </a:extLst>
          </p:cNvPr>
          <p:cNvSpPr>
            <a:spLocks noGrp="1"/>
          </p:cNvSpPr>
          <p:nvPr>
            <p:ph sz="quarter" idx="11"/>
          </p:nvPr>
        </p:nvSpPr>
        <p:spPr>
          <a:xfrm>
            <a:off x="609600" y="1744134"/>
            <a:ext cx="7315200" cy="2837059"/>
          </a:xfrm>
        </p:spPr>
        <p:txBody>
          <a:bodyPr/>
          <a:lstStyle/>
          <a:p>
            <a:r>
              <a:rPr lang="en-US" sz="2000" dirty="0"/>
              <a:t>In pairs, discuss of a process or task you have performed in excel explain to each other how it meets the following criteria:</a:t>
            </a:r>
          </a:p>
          <a:p>
            <a:pPr marL="342900" indent="-342900">
              <a:buFont typeface="Arial" panose="020B0604020202020204" pitchFamily="34" charset="0"/>
              <a:buChar char="•"/>
            </a:pPr>
            <a:r>
              <a:rPr lang="en-US" sz="2000" dirty="0"/>
              <a:t>It is repetitive</a:t>
            </a:r>
          </a:p>
          <a:p>
            <a:pPr marL="342900" indent="-342900">
              <a:buFont typeface="Arial" panose="020B0604020202020204" pitchFamily="34" charset="0"/>
              <a:buChar char="•"/>
            </a:pPr>
            <a:r>
              <a:rPr lang="en-US" sz="2000" dirty="0"/>
              <a:t>It is possible to make data errors</a:t>
            </a:r>
          </a:p>
          <a:p>
            <a:pPr marL="342900" indent="-342900">
              <a:buFont typeface="Arial" panose="020B0604020202020204" pitchFamily="34" charset="0"/>
              <a:buChar char="•"/>
            </a:pPr>
            <a:r>
              <a:rPr lang="en-US" sz="2000" dirty="0"/>
              <a:t>It didn’t seem like rewarding work</a:t>
            </a:r>
          </a:p>
          <a:p>
            <a:r>
              <a:rPr lang="en-US" sz="2000" dirty="0"/>
              <a:t>and then submit the task to </a:t>
            </a:r>
            <a:r>
              <a:rPr lang="en-US" sz="2000" dirty="0" err="1"/>
              <a:t>PollEverywhere</a:t>
            </a:r>
            <a:r>
              <a:rPr lang="en-US" sz="2000" dirty="0"/>
              <a:t>. </a:t>
            </a:r>
          </a:p>
        </p:txBody>
      </p:sp>
      <p:sp>
        <p:nvSpPr>
          <p:cNvPr id="3" name="Title 2">
            <a:extLst>
              <a:ext uri="{FF2B5EF4-FFF2-40B4-BE49-F238E27FC236}">
                <a16:creationId xmlns:a16="http://schemas.microsoft.com/office/drawing/2014/main" id="{A1E13114-1817-C4FE-1FB3-98FA4350C15D}"/>
              </a:ext>
            </a:extLst>
          </p:cNvPr>
          <p:cNvSpPr>
            <a:spLocks noGrp="1"/>
          </p:cNvSpPr>
          <p:nvPr>
            <p:ph type="title"/>
          </p:nvPr>
        </p:nvSpPr>
        <p:spPr/>
        <p:txBody>
          <a:bodyPr/>
          <a:lstStyle/>
          <a:p>
            <a:r>
              <a:rPr lang="en-US" dirty="0"/>
              <a:t>Automating Excel</a:t>
            </a:r>
          </a:p>
        </p:txBody>
      </p:sp>
      <p:pic>
        <p:nvPicPr>
          <p:cNvPr id="5" name="Picture 4" descr="A cartoon of a purple robot holding a green cube with a white x&#10;&#10;AI-generated content may be incorrect.">
            <a:extLst>
              <a:ext uri="{FF2B5EF4-FFF2-40B4-BE49-F238E27FC236}">
                <a16:creationId xmlns:a16="http://schemas.microsoft.com/office/drawing/2014/main" id="{25A9DC2E-A923-D659-5A6A-3A80212D8EDF}"/>
              </a:ext>
            </a:extLst>
          </p:cNvPr>
          <p:cNvPicPr>
            <a:picLocks noChangeAspect="1"/>
          </p:cNvPicPr>
          <p:nvPr/>
        </p:nvPicPr>
        <p:blipFill>
          <a:blip r:embed="rId2"/>
          <a:stretch>
            <a:fillRect/>
          </a:stretch>
        </p:blipFill>
        <p:spPr>
          <a:xfrm>
            <a:off x="8185532" y="2290284"/>
            <a:ext cx="3925913" cy="3925913"/>
          </a:xfrm>
          <a:prstGeom prst="rect">
            <a:avLst/>
          </a:prstGeom>
        </p:spPr>
      </p:pic>
    </p:spTree>
    <p:extLst>
      <p:ext uri="{BB962C8B-B14F-4D97-AF65-F5344CB8AC3E}">
        <p14:creationId xmlns:p14="http://schemas.microsoft.com/office/powerpoint/2010/main" val="37713924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665338-7955-4DBC-7785-C9233CE70D8E}"/>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6E0D8F08-E467-90E1-7AF2-55ADA3D49E8B}"/>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B166EA6-6DBB-3615-C04E-C0D22CE9E108}"/>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28DD9191-6760-DEC9-89AA-A504181DBEB9}"/>
              </a:ext>
            </a:extLst>
          </p:cNvPr>
          <p:cNvSpPr txBox="1"/>
          <p:nvPr/>
        </p:nvSpPr>
        <p:spPr>
          <a:xfrm>
            <a:off x="670560" y="2177143"/>
            <a:ext cx="8534400" cy="2246769"/>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tx2">
                    <a:lumMod val="40000"/>
                    <a:lumOff val="60000"/>
                  </a:schemeClr>
                </a:solidFill>
                <a:latin typeface="+mn-lt"/>
              </a:rPr>
              <a:t>Course Overview</a:t>
            </a:r>
          </a:p>
          <a:p>
            <a:pPr marL="285750" indent="-285750">
              <a:buFont typeface="Arial" panose="020B0604020202020204" pitchFamily="34" charset="0"/>
              <a:buChar char="•"/>
            </a:pPr>
            <a:r>
              <a:rPr lang="en-US" sz="2800" dirty="0">
                <a:solidFill>
                  <a:schemeClr val="tx2">
                    <a:lumMod val="40000"/>
                    <a:lumOff val="60000"/>
                  </a:schemeClr>
                </a:solidFill>
                <a:latin typeface="+mn-lt"/>
              </a:rPr>
              <a:t>Syllabus</a:t>
            </a:r>
          </a:p>
          <a:p>
            <a:pPr marL="285750" indent="-285750">
              <a:buFont typeface="Arial" panose="020B0604020202020204" pitchFamily="34" charset="0"/>
              <a:buChar char="•"/>
            </a:pPr>
            <a:r>
              <a:rPr lang="en-US" sz="2800" dirty="0">
                <a:solidFill>
                  <a:schemeClr val="tx2">
                    <a:lumMod val="40000"/>
                    <a:lumOff val="60000"/>
                  </a:schemeClr>
                </a:solidFill>
                <a:latin typeface="+mn-lt"/>
              </a:rPr>
              <a:t>Internship Reflection</a:t>
            </a:r>
          </a:p>
          <a:p>
            <a:pPr marL="285750" indent="-285750">
              <a:buFont typeface="Arial" panose="020B0604020202020204" pitchFamily="34" charset="0"/>
              <a:buChar char="•"/>
            </a:pPr>
            <a:r>
              <a:rPr lang="en-US" sz="2800" b="1" dirty="0" err="1">
                <a:solidFill>
                  <a:schemeClr val="bg1"/>
                </a:solidFill>
                <a:latin typeface="+mn-lt"/>
              </a:rPr>
              <a:t>UIPath</a:t>
            </a:r>
            <a:r>
              <a:rPr lang="en-US" sz="2800" b="1" dirty="0">
                <a:solidFill>
                  <a:schemeClr val="bg1"/>
                </a:solidFill>
                <a:latin typeface="+mn-lt"/>
              </a:rPr>
              <a:t> Licenses</a:t>
            </a:r>
          </a:p>
          <a:p>
            <a:pPr marL="285750" indent="-285750">
              <a:buFont typeface="Arial" panose="020B0604020202020204" pitchFamily="34" charset="0"/>
              <a:buChar char="•"/>
            </a:pPr>
            <a:r>
              <a:rPr lang="en-US" sz="2800" b="1" dirty="0" err="1">
                <a:solidFill>
                  <a:schemeClr val="bg1"/>
                </a:solidFill>
                <a:latin typeface="+mn-lt"/>
              </a:rPr>
              <a:t>LucidChart</a:t>
            </a:r>
            <a:r>
              <a:rPr lang="en-US" sz="2800" b="1" dirty="0">
                <a:solidFill>
                  <a:schemeClr val="bg1"/>
                </a:solidFill>
                <a:latin typeface="+mn-lt"/>
              </a:rPr>
              <a:t> Process Maps Exercise</a:t>
            </a:r>
          </a:p>
        </p:txBody>
      </p:sp>
    </p:spTree>
    <p:extLst>
      <p:ext uri="{BB962C8B-B14F-4D97-AF65-F5344CB8AC3E}">
        <p14:creationId xmlns:p14="http://schemas.microsoft.com/office/powerpoint/2010/main" val="310532140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94BD599-C85A-9EB9-563C-F6E46DEF03E8}"/>
              </a:ext>
            </a:extLst>
          </p:cNvPr>
          <p:cNvSpPr>
            <a:spLocks noGrp="1"/>
          </p:cNvSpPr>
          <p:nvPr>
            <p:ph sz="quarter" idx="11"/>
          </p:nvPr>
        </p:nvSpPr>
        <p:spPr>
          <a:xfrm>
            <a:off x="609599" y="1744134"/>
            <a:ext cx="10563498" cy="3140475"/>
          </a:xfrm>
        </p:spPr>
        <p:txBody>
          <a:bodyPr/>
          <a:lstStyle/>
          <a:p>
            <a:r>
              <a:rPr lang="en-US" b="1" dirty="0">
                <a:solidFill>
                  <a:schemeClr val="tx2"/>
                </a:solidFill>
              </a:rPr>
              <a:t>Remote Labs: </a:t>
            </a:r>
            <a:r>
              <a:rPr lang="en-US" b="1" dirty="0">
                <a:solidFill>
                  <a:schemeClr val="tx2"/>
                </a:solidFill>
                <a:hlinkClick r:id="rId2">
                  <a:extLst>
                    <a:ext uri="{A12FA001-AC4F-418D-AE19-62706E023703}">
                      <ahyp:hlinkClr xmlns:ahyp="http://schemas.microsoft.com/office/drawing/2018/hyperlinkcolor" val="tx"/>
                    </a:ext>
                  </a:extLst>
                </a:hlinkClick>
              </a:rPr>
              <a:t>https://fprod-hcs.foster.uw.edu/</a:t>
            </a:r>
            <a:endParaRPr lang="en-US" b="1" dirty="0">
              <a:solidFill>
                <a:schemeClr val="tx2"/>
              </a:solidFill>
            </a:endParaRPr>
          </a:p>
          <a:p>
            <a:endParaRPr lang="en-US" b="1" dirty="0">
              <a:solidFill>
                <a:schemeClr val="tx2"/>
              </a:solidFill>
            </a:endParaRPr>
          </a:p>
          <a:p>
            <a:r>
              <a:rPr lang="en-US" b="1" dirty="0" err="1">
                <a:solidFill>
                  <a:schemeClr val="tx2"/>
                </a:solidFill>
              </a:rPr>
              <a:t>UIPath</a:t>
            </a:r>
            <a:r>
              <a:rPr lang="en-US" b="1" dirty="0">
                <a:solidFill>
                  <a:schemeClr val="tx2"/>
                </a:solidFill>
              </a:rPr>
              <a:t> License: </a:t>
            </a:r>
            <a:r>
              <a:rPr lang="en-US" b="1" dirty="0">
                <a:solidFill>
                  <a:schemeClr val="tx2"/>
                </a:solidFill>
                <a:hlinkClick r:id="rId3">
                  <a:extLst>
                    <a:ext uri="{A12FA001-AC4F-418D-AE19-62706E023703}">
                      <ahyp:hlinkClr xmlns:ahyp="http://schemas.microsoft.com/office/drawing/2018/hyperlinkcolor" val="tx"/>
                    </a:ext>
                  </a:extLst>
                </a:hlinkClick>
              </a:rPr>
              <a:t>https://www.uipath.com/rpa/academic-alliance/academic-studio-download</a:t>
            </a:r>
            <a:r>
              <a:rPr lang="en-US" b="1" dirty="0">
                <a:solidFill>
                  <a:schemeClr val="tx2"/>
                </a:solidFill>
              </a:rPr>
              <a:t> </a:t>
            </a:r>
          </a:p>
          <a:p>
            <a:endParaRPr lang="en-US" b="1" dirty="0">
              <a:solidFill>
                <a:schemeClr val="tx2"/>
              </a:solidFill>
            </a:endParaRPr>
          </a:p>
          <a:p>
            <a:r>
              <a:rPr lang="en-US" b="1" dirty="0" err="1">
                <a:solidFill>
                  <a:schemeClr val="tx2"/>
                </a:solidFill>
              </a:rPr>
              <a:t>LucidChart</a:t>
            </a:r>
            <a:r>
              <a:rPr lang="en-US" b="1" dirty="0">
                <a:solidFill>
                  <a:schemeClr val="tx2"/>
                </a:solidFill>
              </a:rPr>
              <a:t>: </a:t>
            </a:r>
            <a:r>
              <a:rPr lang="en-US" b="1" dirty="0">
                <a:solidFill>
                  <a:schemeClr val="tx2"/>
                </a:solidFill>
                <a:hlinkClick r:id="rId4">
                  <a:extLst>
                    <a:ext uri="{A12FA001-AC4F-418D-AE19-62706E023703}">
                      <ahyp:hlinkClr xmlns:ahyp="http://schemas.microsoft.com/office/drawing/2018/hyperlinkcolor" val="tx"/>
                    </a:ext>
                  </a:extLst>
                </a:hlinkClick>
              </a:rPr>
              <a:t>https://www.lucidchart.com/</a:t>
            </a:r>
            <a:endParaRPr lang="en-US" b="1" dirty="0">
              <a:solidFill>
                <a:schemeClr val="tx2"/>
              </a:solidFill>
            </a:endParaRPr>
          </a:p>
          <a:p>
            <a:endParaRPr lang="en-US" b="1" dirty="0">
              <a:solidFill>
                <a:schemeClr val="tx2"/>
              </a:solidFill>
            </a:endParaRPr>
          </a:p>
          <a:p>
            <a:endParaRPr lang="en-US" b="1" dirty="0">
              <a:solidFill>
                <a:schemeClr val="tx2"/>
              </a:solidFill>
            </a:endParaRPr>
          </a:p>
        </p:txBody>
      </p:sp>
      <p:sp>
        <p:nvSpPr>
          <p:cNvPr id="3" name="Title 2">
            <a:extLst>
              <a:ext uri="{FF2B5EF4-FFF2-40B4-BE49-F238E27FC236}">
                <a16:creationId xmlns:a16="http://schemas.microsoft.com/office/drawing/2014/main" id="{37E1C20F-877C-698F-8067-4BEBC7FF7DFC}"/>
              </a:ext>
            </a:extLst>
          </p:cNvPr>
          <p:cNvSpPr>
            <a:spLocks noGrp="1"/>
          </p:cNvSpPr>
          <p:nvPr>
            <p:ph type="title"/>
          </p:nvPr>
        </p:nvSpPr>
        <p:spPr/>
        <p:txBody>
          <a:bodyPr/>
          <a:lstStyle/>
          <a:p>
            <a:r>
              <a:rPr lang="en-US" dirty="0"/>
              <a:t>Lab links (also online)</a:t>
            </a:r>
          </a:p>
        </p:txBody>
      </p:sp>
    </p:spTree>
    <p:extLst>
      <p:ext uri="{BB962C8B-B14F-4D97-AF65-F5344CB8AC3E}">
        <p14:creationId xmlns:p14="http://schemas.microsoft.com/office/powerpoint/2010/main" val="157293835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E5766B9-F51E-0C93-A608-2C5CA4E4D870}"/>
              </a:ext>
            </a:extLst>
          </p:cNvPr>
          <p:cNvSpPr txBox="1">
            <a:spLocks/>
          </p:cNvSpPr>
          <p:nvPr/>
        </p:nvSpPr>
        <p:spPr>
          <a:xfrm>
            <a:off x="1545634" y="2746994"/>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4000" b="1" i="0" u="none" strike="noStrike" kern="1200" cap="none" spc="0" normalizeH="0" baseline="0" noProof="0" dirty="0">
                <a:ln>
                  <a:noFill/>
                </a:ln>
                <a:solidFill>
                  <a:prstClr val="white"/>
                </a:solidFill>
                <a:effectLst/>
                <a:uLnTx/>
                <a:uFillTx/>
                <a:latin typeface="Open Sans"/>
                <a:ea typeface="+mn-ea"/>
                <a:cs typeface="+mn-cs"/>
              </a:rPr>
              <a:t>Thank you</a:t>
            </a:r>
          </a:p>
        </p:txBody>
      </p:sp>
    </p:spTree>
    <p:extLst>
      <p:ext uri="{BB962C8B-B14F-4D97-AF65-F5344CB8AC3E}">
        <p14:creationId xmlns:p14="http://schemas.microsoft.com/office/powerpoint/2010/main" val="345923791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247E76-66C4-3A70-5757-2F64C81E6DBC}"/>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4D6AD8D-523A-CFD8-64DA-B29F4BC724D7}"/>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1B1AB41-75E9-C39E-0184-B93A0A725ADD}"/>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57594B7F-5D66-336D-71CC-B36236C7E124}"/>
              </a:ext>
            </a:extLst>
          </p:cNvPr>
          <p:cNvSpPr txBox="1"/>
          <p:nvPr/>
        </p:nvSpPr>
        <p:spPr>
          <a:xfrm>
            <a:off x="670560" y="2177143"/>
            <a:ext cx="8534400" cy="2246769"/>
          </a:xfrm>
          <a:prstGeom prst="rect">
            <a:avLst/>
          </a:prstGeom>
          <a:noFill/>
        </p:spPr>
        <p:txBody>
          <a:bodyPr wrap="square" rtlCol="0">
            <a:spAutoFit/>
          </a:bodyPr>
          <a:lstStyle/>
          <a:p>
            <a:pPr marL="285750" indent="-285750">
              <a:buFont typeface="Arial" panose="020B0604020202020204" pitchFamily="34" charset="0"/>
              <a:buChar char="•"/>
            </a:pPr>
            <a:r>
              <a:rPr lang="en-US" sz="2800" b="1" dirty="0">
                <a:solidFill>
                  <a:schemeClr val="bg1"/>
                </a:solidFill>
                <a:latin typeface="+mn-lt"/>
              </a:rPr>
              <a:t>Course Overview</a:t>
            </a:r>
          </a:p>
          <a:p>
            <a:pPr marL="285750" indent="-285750">
              <a:buFont typeface="Arial" panose="020B0604020202020204" pitchFamily="34" charset="0"/>
              <a:buChar char="•"/>
            </a:pPr>
            <a:r>
              <a:rPr lang="en-US" sz="2800" dirty="0">
                <a:solidFill>
                  <a:schemeClr val="bg1"/>
                </a:solidFill>
                <a:latin typeface="+mn-lt"/>
              </a:rPr>
              <a:t>Syllabus</a:t>
            </a:r>
          </a:p>
          <a:p>
            <a:pPr marL="285750" indent="-285750">
              <a:buFont typeface="Arial" panose="020B0604020202020204" pitchFamily="34" charset="0"/>
              <a:buChar char="•"/>
            </a:pPr>
            <a:r>
              <a:rPr lang="en-US" sz="2800" dirty="0">
                <a:solidFill>
                  <a:schemeClr val="bg1"/>
                </a:solidFill>
                <a:latin typeface="+mn-lt"/>
              </a:rPr>
              <a:t>Internship Reflection</a:t>
            </a:r>
          </a:p>
          <a:p>
            <a:pPr marL="285750" indent="-285750">
              <a:buFont typeface="Arial" panose="020B0604020202020204" pitchFamily="34" charset="0"/>
              <a:buChar char="•"/>
            </a:pPr>
            <a:r>
              <a:rPr lang="en-US" sz="2800" dirty="0" err="1">
                <a:solidFill>
                  <a:schemeClr val="bg1"/>
                </a:solidFill>
                <a:latin typeface="+mn-lt"/>
              </a:rPr>
              <a:t>UIPath</a:t>
            </a:r>
            <a:r>
              <a:rPr lang="en-US" sz="2800" dirty="0">
                <a:solidFill>
                  <a:schemeClr val="bg1"/>
                </a:solidFill>
                <a:latin typeface="+mn-lt"/>
              </a:rPr>
              <a:t> Licenses</a:t>
            </a:r>
          </a:p>
          <a:p>
            <a:pPr marL="285750" indent="-285750">
              <a:buFont typeface="Arial" panose="020B0604020202020204" pitchFamily="34" charset="0"/>
              <a:buChar char="•"/>
            </a:pPr>
            <a:r>
              <a:rPr lang="en-US" sz="2800" dirty="0" err="1">
                <a:solidFill>
                  <a:schemeClr val="bg1"/>
                </a:solidFill>
                <a:latin typeface="+mn-lt"/>
              </a:rPr>
              <a:t>LucidChart</a:t>
            </a:r>
            <a:r>
              <a:rPr lang="en-US" sz="2800" dirty="0">
                <a:solidFill>
                  <a:schemeClr val="bg1"/>
                </a:solidFill>
                <a:latin typeface="+mn-lt"/>
              </a:rPr>
              <a:t> Process Maps Exercise</a:t>
            </a:r>
          </a:p>
        </p:txBody>
      </p:sp>
    </p:spTree>
    <p:extLst>
      <p:ext uri="{BB962C8B-B14F-4D97-AF65-F5344CB8AC3E}">
        <p14:creationId xmlns:p14="http://schemas.microsoft.com/office/powerpoint/2010/main" val="207980204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9A70D7-A92D-8C5A-DEDC-39D5A246341F}"/>
              </a:ext>
            </a:extLst>
          </p:cNvPr>
          <p:cNvSpPr>
            <a:spLocks noGrp="1"/>
          </p:cNvSpPr>
          <p:nvPr>
            <p:ph type="title"/>
          </p:nvPr>
        </p:nvSpPr>
        <p:spPr/>
        <p:txBody>
          <a:bodyPr/>
          <a:lstStyle/>
          <a:p>
            <a:r>
              <a:rPr lang="en-US" dirty="0"/>
              <a:t>Course Overview</a:t>
            </a:r>
          </a:p>
        </p:txBody>
      </p:sp>
      <p:pic>
        <p:nvPicPr>
          <p:cNvPr id="5" name="Picture 4" descr="A purple rectangular sign with white text&#10;&#10;AI-generated content may be incorrect.">
            <a:extLst>
              <a:ext uri="{FF2B5EF4-FFF2-40B4-BE49-F238E27FC236}">
                <a16:creationId xmlns:a16="http://schemas.microsoft.com/office/drawing/2014/main" id="{953493A8-9F79-5A46-79FC-F0677AC6058C}"/>
              </a:ext>
            </a:extLst>
          </p:cNvPr>
          <p:cNvPicPr>
            <a:picLocks noChangeAspect="1"/>
          </p:cNvPicPr>
          <p:nvPr/>
        </p:nvPicPr>
        <p:blipFill>
          <a:blip r:embed="rId2"/>
          <a:srcRect t="23294" b="25622"/>
          <a:stretch/>
        </p:blipFill>
        <p:spPr>
          <a:xfrm>
            <a:off x="952500" y="1597446"/>
            <a:ext cx="10287000" cy="3503364"/>
          </a:xfrm>
          <a:prstGeom prst="rect">
            <a:avLst/>
          </a:prstGeom>
        </p:spPr>
      </p:pic>
    </p:spTree>
    <p:extLst>
      <p:ext uri="{BB962C8B-B14F-4D97-AF65-F5344CB8AC3E}">
        <p14:creationId xmlns:p14="http://schemas.microsoft.com/office/powerpoint/2010/main" val="105263287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A4A68E-745D-990F-B49E-207073114AB8}"/>
              </a:ext>
            </a:extLst>
          </p:cNvPr>
          <p:cNvSpPr>
            <a:spLocks noGrp="1"/>
          </p:cNvSpPr>
          <p:nvPr>
            <p:ph type="title"/>
          </p:nvPr>
        </p:nvSpPr>
        <p:spPr/>
        <p:txBody>
          <a:bodyPr/>
          <a:lstStyle/>
          <a:p>
            <a:r>
              <a:rPr lang="en-US" dirty="0"/>
              <a:t>Automation Technology Progression with AI</a:t>
            </a:r>
          </a:p>
        </p:txBody>
      </p:sp>
      <p:pic>
        <p:nvPicPr>
          <p:cNvPr id="5" name="Picture 4">
            <a:extLst>
              <a:ext uri="{FF2B5EF4-FFF2-40B4-BE49-F238E27FC236}">
                <a16:creationId xmlns:a16="http://schemas.microsoft.com/office/drawing/2014/main" id="{22826F60-78A6-6FA9-1DFD-148A13897D84}"/>
              </a:ext>
            </a:extLst>
          </p:cNvPr>
          <p:cNvPicPr>
            <a:picLocks noChangeAspect="1"/>
          </p:cNvPicPr>
          <p:nvPr/>
        </p:nvPicPr>
        <p:blipFill>
          <a:blip r:embed="rId2"/>
          <a:srcRect t="29950" b="11820"/>
          <a:stretch/>
        </p:blipFill>
        <p:spPr>
          <a:xfrm>
            <a:off x="0" y="2148289"/>
            <a:ext cx="12192000" cy="3855904"/>
          </a:xfrm>
          <a:prstGeom prst="rect">
            <a:avLst/>
          </a:prstGeom>
          <a:solidFill>
            <a:schemeClr val="accent2"/>
          </a:solidFill>
        </p:spPr>
      </p:pic>
      <p:pic>
        <p:nvPicPr>
          <p:cNvPr id="4" name="Picture 3" descr="A purple rectangular sign with white text&#10;&#10;AI-generated content may be incorrect.">
            <a:extLst>
              <a:ext uri="{FF2B5EF4-FFF2-40B4-BE49-F238E27FC236}">
                <a16:creationId xmlns:a16="http://schemas.microsoft.com/office/drawing/2014/main" id="{68DA4DEE-EF35-AAAE-986E-40F6AEE07CE2}"/>
              </a:ext>
            </a:extLst>
          </p:cNvPr>
          <p:cNvPicPr>
            <a:picLocks noChangeAspect="1"/>
          </p:cNvPicPr>
          <p:nvPr/>
        </p:nvPicPr>
        <p:blipFill>
          <a:blip r:embed="rId3"/>
          <a:srcRect t="23294" b="25622"/>
          <a:stretch/>
        </p:blipFill>
        <p:spPr>
          <a:xfrm>
            <a:off x="625927" y="1358456"/>
            <a:ext cx="4638403" cy="1579665"/>
          </a:xfrm>
          <a:prstGeom prst="rect">
            <a:avLst/>
          </a:prstGeom>
        </p:spPr>
      </p:pic>
    </p:spTree>
    <p:extLst>
      <p:ext uri="{BB962C8B-B14F-4D97-AF65-F5344CB8AC3E}">
        <p14:creationId xmlns:p14="http://schemas.microsoft.com/office/powerpoint/2010/main" val="8243504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purple robot with yellow eyes and a sign on a table&#10;&#10;AI-generated content may be incorrect.">
            <a:extLst>
              <a:ext uri="{FF2B5EF4-FFF2-40B4-BE49-F238E27FC236}">
                <a16:creationId xmlns:a16="http://schemas.microsoft.com/office/drawing/2014/main" id="{1BA843EC-BBE6-BED3-A558-C94ACE0D68AD}"/>
              </a:ext>
            </a:extLst>
          </p:cNvPr>
          <p:cNvPicPr>
            <a:picLocks noGrp="1" noChangeAspect="1"/>
          </p:cNvPicPr>
          <p:nvPr>
            <p:ph sz="quarter" idx="11"/>
          </p:nvPr>
        </p:nvPicPr>
        <p:blipFill>
          <a:blip r:embed="rId2">
            <a:extLst>
              <a:ext uri="{28A0092B-C50C-407E-A947-70E740481C1C}">
                <a14:useLocalDpi xmlns:a14="http://schemas.microsoft.com/office/drawing/2010/main" val="0"/>
              </a:ext>
            </a:extLst>
          </a:blip>
          <a:stretch>
            <a:fillRect/>
          </a:stretch>
        </p:blipFill>
        <p:spPr>
          <a:xfrm>
            <a:off x="4055269" y="1733646"/>
            <a:ext cx="3643108" cy="3643108"/>
          </a:xfrm>
        </p:spPr>
      </p:pic>
      <p:sp>
        <p:nvSpPr>
          <p:cNvPr id="3" name="Title 2">
            <a:extLst>
              <a:ext uri="{FF2B5EF4-FFF2-40B4-BE49-F238E27FC236}">
                <a16:creationId xmlns:a16="http://schemas.microsoft.com/office/drawing/2014/main" id="{C2E898D2-789E-E9D3-1CDA-6E0205649F60}"/>
              </a:ext>
            </a:extLst>
          </p:cNvPr>
          <p:cNvSpPr>
            <a:spLocks noGrp="1"/>
          </p:cNvSpPr>
          <p:nvPr>
            <p:ph type="title"/>
          </p:nvPr>
        </p:nvSpPr>
        <p:spPr/>
        <p:txBody>
          <a:bodyPr/>
          <a:lstStyle/>
          <a:p>
            <a:r>
              <a:rPr lang="en-US" dirty="0"/>
              <a:t>What can we expect robots to do?</a:t>
            </a:r>
          </a:p>
        </p:txBody>
      </p:sp>
    </p:spTree>
    <p:extLst>
      <p:ext uri="{BB962C8B-B14F-4D97-AF65-F5344CB8AC3E}">
        <p14:creationId xmlns:p14="http://schemas.microsoft.com/office/powerpoint/2010/main" val="40027363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952BAF-69FA-ABB3-7EE4-E376A6669629}"/>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FABDCF80-53A2-DEF6-C2D7-53E9EF8BBF0D}"/>
              </a:ext>
            </a:extLst>
          </p:cNvPr>
          <p:cNvSpPr txBox="1"/>
          <p:nvPr/>
        </p:nvSpPr>
        <p:spPr>
          <a:xfrm>
            <a:off x="386611" y="1882910"/>
            <a:ext cx="5255343" cy="2235868"/>
          </a:xfrm>
          <a:prstGeom prst="rect">
            <a:avLst/>
          </a:prstGeom>
          <a:noFill/>
        </p:spPr>
        <p:txBody>
          <a:bodyPr wrap="square" lIns="0" tIns="0" rIns="0" bIns="0" rtlCol="0">
            <a:spAutoFit/>
          </a:bodyPr>
          <a:lstStyle/>
          <a:p>
            <a:pPr algn="ctr">
              <a:spcAft>
                <a:spcPts val="1765"/>
              </a:spcAft>
            </a:pPr>
            <a:r>
              <a:rPr lang="en-US" sz="3529" b="1" dirty="0">
                <a:solidFill>
                  <a:schemeClr val="accent1">
                    <a:lumMod val="75000"/>
                  </a:schemeClr>
                </a:solidFill>
              </a:rPr>
              <a:t>Rules</a:t>
            </a:r>
            <a:endParaRPr lang="en-US" sz="2745" dirty="0">
              <a:gradFill>
                <a:gsLst>
                  <a:gs pos="2917">
                    <a:schemeClr val="tx1"/>
                  </a:gs>
                  <a:gs pos="30000">
                    <a:schemeClr val="tx1"/>
                  </a:gs>
                </a:gsLst>
                <a:lin ang="5400000" scaled="0"/>
              </a:gradFill>
            </a:endParaRPr>
          </a:p>
          <a:p>
            <a:pPr marL="336145" indent="-336145">
              <a:spcAft>
                <a:spcPts val="588"/>
              </a:spcAft>
              <a:buFont typeface="Arial" panose="020B0604020202020204" pitchFamily="34" charset="0"/>
              <a:buChar char="•"/>
            </a:pPr>
            <a:r>
              <a:rPr lang="en-US" dirty="0">
                <a:gradFill>
                  <a:gsLst>
                    <a:gs pos="2917">
                      <a:schemeClr val="tx1"/>
                    </a:gs>
                    <a:gs pos="30000">
                      <a:schemeClr val="tx1"/>
                    </a:gs>
                  </a:gsLst>
                  <a:lin ang="5400000" scaled="0"/>
                </a:gradFill>
              </a:rPr>
              <a:t>Can automated using logic such as “if x&gt;200 then …”</a:t>
            </a:r>
          </a:p>
          <a:p>
            <a:pPr marL="336145" indent="-336145">
              <a:spcAft>
                <a:spcPts val="588"/>
              </a:spcAft>
              <a:buFont typeface="Arial" panose="020B0604020202020204" pitchFamily="34" charset="0"/>
              <a:buChar char="•"/>
            </a:pPr>
            <a:r>
              <a:rPr lang="en-US" dirty="0">
                <a:gradFill>
                  <a:gsLst>
                    <a:gs pos="2917">
                      <a:schemeClr val="tx1"/>
                    </a:gs>
                    <a:gs pos="30000">
                      <a:schemeClr val="tx1"/>
                    </a:gs>
                  </a:gsLst>
                  <a:lin ang="5400000" scaled="0"/>
                </a:gradFill>
              </a:rPr>
              <a:t>Even complex rules can be automated if no decision is required (e.g., filling out long structured forms from existing data)</a:t>
            </a:r>
          </a:p>
        </p:txBody>
      </p:sp>
      <p:sp>
        <p:nvSpPr>
          <p:cNvPr id="7" name="Title 1">
            <a:extLst>
              <a:ext uri="{FF2B5EF4-FFF2-40B4-BE49-F238E27FC236}">
                <a16:creationId xmlns:a16="http://schemas.microsoft.com/office/drawing/2014/main" id="{794C64AB-6090-BBEB-9FA4-2DC81621F1B9}"/>
              </a:ext>
            </a:extLst>
          </p:cNvPr>
          <p:cNvSpPr txBox="1">
            <a:spLocks/>
          </p:cNvSpPr>
          <p:nvPr/>
        </p:nvSpPr>
        <p:spPr>
          <a:xfrm>
            <a:off x="737668" y="607026"/>
            <a:ext cx="11018520" cy="543097"/>
          </a:xfrm>
          <a:prstGeom prst="rect">
            <a:avLst/>
          </a:prstGeom>
        </p:spPr>
        <p:txBody>
          <a:bodyPr vert="horz" wrap="square" lIns="0" tIns="0" rIns="0" bIns="0" rtlCol="0" anchor="t">
            <a:spAutoFit/>
          </a:bodyPr>
          <a:lst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529" dirty="0">
                <a:solidFill>
                  <a:schemeClr val="tx2"/>
                </a:solidFill>
                <a:latin typeface="+mn-lt"/>
                <a:cs typeface="Segoe UI"/>
              </a:rPr>
              <a:t>Automation using Rules versus Decisions</a:t>
            </a:r>
          </a:p>
        </p:txBody>
      </p:sp>
      <p:sp>
        <p:nvSpPr>
          <p:cNvPr id="8" name="TextBox 7">
            <a:extLst>
              <a:ext uri="{FF2B5EF4-FFF2-40B4-BE49-F238E27FC236}">
                <a16:creationId xmlns:a16="http://schemas.microsoft.com/office/drawing/2014/main" id="{1A9D3178-A182-47B2-9A51-D09769B43E28}"/>
              </a:ext>
            </a:extLst>
          </p:cNvPr>
          <p:cNvSpPr txBox="1"/>
          <p:nvPr/>
        </p:nvSpPr>
        <p:spPr>
          <a:xfrm>
            <a:off x="6458367" y="1882910"/>
            <a:ext cx="5255343" cy="3066865"/>
          </a:xfrm>
          <a:prstGeom prst="rect">
            <a:avLst/>
          </a:prstGeom>
          <a:noFill/>
        </p:spPr>
        <p:txBody>
          <a:bodyPr wrap="square" lIns="0" tIns="0" rIns="0" bIns="0" rtlCol="0">
            <a:spAutoFit/>
          </a:bodyPr>
          <a:lstStyle/>
          <a:p>
            <a:pPr algn="ctr">
              <a:spcAft>
                <a:spcPts val="1765"/>
              </a:spcAft>
            </a:pPr>
            <a:r>
              <a:rPr lang="en-US" sz="3529" b="1" dirty="0">
                <a:solidFill>
                  <a:schemeClr val="accent1">
                    <a:lumMod val="75000"/>
                  </a:schemeClr>
                </a:solidFill>
              </a:rPr>
              <a:t>Decisions</a:t>
            </a:r>
            <a:endParaRPr lang="en-US" sz="1961" dirty="0">
              <a:gradFill>
                <a:gsLst>
                  <a:gs pos="2917">
                    <a:schemeClr val="tx1"/>
                  </a:gs>
                  <a:gs pos="30000">
                    <a:schemeClr val="tx1"/>
                  </a:gs>
                </a:gsLst>
                <a:lin ang="5400000" scaled="0"/>
              </a:gradFill>
            </a:endParaRPr>
          </a:p>
          <a:p>
            <a:pPr marL="336145" indent="-336145">
              <a:spcAft>
                <a:spcPts val="588"/>
              </a:spcAft>
              <a:buFont typeface="Arial" panose="020B0604020202020204" pitchFamily="34" charset="0"/>
              <a:buChar char="•"/>
            </a:pPr>
            <a:r>
              <a:rPr lang="en-US" dirty="0">
                <a:gradFill>
                  <a:gsLst>
                    <a:gs pos="2917">
                      <a:schemeClr val="tx1"/>
                    </a:gs>
                    <a:gs pos="30000">
                      <a:schemeClr val="tx1"/>
                    </a:gs>
                  </a:gsLst>
                  <a:lin ang="5400000" scaled="0"/>
                </a:gradFill>
              </a:rPr>
              <a:t>Harder to automate until recently, requires reasoning.</a:t>
            </a:r>
          </a:p>
          <a:p>
            <a:pPr marL="336145" indent="-336145">
              <a:spcAft>
                <a:spcPts val="588"/>
              </a:spcAft>
              <a:buFont typeface="Arial" panose="020B0604020202020204" pitchFamily="34" charset="0"/>
              <a:buChar char="•"/>
            </a:pPr>
            <a:r>
              <a:rPr lang="en-US" dirty="0">
                <a:gradFill>
                  <a:gsLst>
                    <a:gs pos="2917">
                      <a:schemeClr val="tx1"/>
                    </a:gs>
                    <a:gs pos="30000">
                      <a:schemeClr val="tx1"/>
                    </a:gs>
                  </a:gsLst>
                  <a:lin ang="5400000" scaled="0"/>
                </a:gradFill>
              </a:rPr>
              <a:t>Newest Generative AI models are now able to provide their reasoning, making some decisions automatable, for example summarizing information, extracting document meaning, executing higher logic (e.g., applying leasing standards)</a:t>
            </a:r>
          </a:p>
        </p:txBody>
      </p:sp>
      <p:cxnSp>
        <p:nvCxnSpPr>
          <p:cNvPr id="10" name="Straight Connector 9">
            <a:extLst>
              <a:ext uri="{FF2B5EF4-FFF2-40B4-BE49-F238E27FC236}">
                <a16:creationId xmlns:a16="http://schemas.microsoft.com/office/drawing/2014/main" id="{5089B9AB-2505-E2EE-1B9E-026DBCB0E8A9}"/>
              </a:ext>
            </a:extLst>
          </p:cNvPr>
          <p:cNvCxnSpPr>
            <a:cxnSpLocks/>
          </p:cNvCxnSpPr>
          <p:nvPr/>
        </p:nvCxnSpPr>
        <p:spPr>
          <a:xfrm>
            <a:off x="5998826" y="1953891"/>
            <a:ext cx="0" cy="3858488"/>
          </a:xfrm>
          <a:prstGeom prst="line">
            <a:avLst/>
          </a:prstGeom>
          <a:ln>
            <a:headEnd type="none" w="lg" len="med"/>
            <a:tailEnd type="none" w="lg"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99472460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609D47-5563-51F5-BA4E-A750A0F71FEE}"/>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83147F62-1791-8A3A-8B06-6A369E9110A4}"/>
              </a:ext>
            </a:extLst>
          </p:cNvPr>
          <p:cNvSpPr txBox="1"/>
          <p:nvPr/>
        </p:nvSpPr>
        <p:spPr>
          <a:xfrm>
            <a:off x="386611" y="1882910"/>
            <a:ext cx="5255343" cy="3851695"/>
          </a:xfrm>
          <a:prstGeom prst="rect">
            <a:avLst/>
          </a:prstGeom>
          <a:noFill/>
        </p:spPr>
        <p:txBody>
          <a:bodyPr wrap="square" lIns="0" tIns="0" rIns="0" bIns="0" rtlCol="0">
            <a:spAutoFit/>
          </a:bodyPr>
          <a:lstStyle/>
          <a:p>
            <a:pPr algn="ctr">
              <a:spcAft>
                <a:spcPts val="1765"/>
              </a:spcAft>
            </a:pPr>
            <a:r>
              <a:rPr lang="en-US" sz="3529" b="1">
                <a:solidFill>
                  <a:schemeClr val="accent1">
                    <a:lumMod val="75000"/>
                  </a:schemeClr>
                </a:solidFill>
              </a:rPr>
              <a:t>Doc Intelligence</a:t>
            </a:r>
            <a:endParaRPr lang="en-US" sz="2745">
              <a:gradFill>
                <a:gsLst>
                  <a:gs pos="2917">
                    <a:schemeClr val="tx1"/>
                  </a:gs>
                  <a:gs pos="30000">
                    <a:schemeClr val="tx1"/>
                  </a:gs>
                </a:gsLst>
                <a:lin ang="5400000" scaled="0"/>
              </a:gradFill>
            </a:endParaRPr>
          </a:p>
          <a:p>
            <a:pPr marL="336145" indent="-336145">
              <a:spcAft>
                <a:spcPts val="588"/>
              </a:spcAft>
              <a:buFont typeface="Arial" panose="020B0604020202020204" pitchFamily="34" charset="0"/>
              <a:buChar char="•"/>
            </a:pPr>
            <a:r>
              <a:rPr lang="en-US">
                <a:gradFill>
                  <a:gsLst>
                    <a:gs pos="2917">
                      <a:schemeClr val="tx1"/>
                    </a:gs>
                    <a:gs pos="30000">
                      <a:schemeClr val="tx1"/>
                    </a:gs>
                  </a:gsLst>
                  <a:lin ang="5400000" scaled="0"/>
                </a:gradFill>
              </a:rPr>
              <a:t>Automated understanding and summarization of documents</a:t>
            </a:r>
          </a:p>
          <a:p>
            <a:pPr marL="336145" indent="-336145">
              <a:spcAft>
                <a:spcPts val="588"/>
              </a:spcAft>
              <a:buFont typeface="Arial" panose="020B0604020202020204" pitchFamily="34" charset="0"/>
              <a:buChar char="•"/>
            </a:pPr>
            <a:r>
              <a:rPr lang="en-US">
                <a:gradFill>
                  <a:gsLst>
                    <a:gs pos="2917">
                      <a:schemeClr val="tx1"/>
                    </a:gs>
                    <a:gs pos="30000">
                      <a:schemeClr val="tx1"/>
                    </a:gs>
                  </a:gsLst>
                  <a:lin ang="5400000" scaled="0"/>
                </a:gradFill>
              </a:rPr>
              <a:t>Quick extraction of important points and data from any text</a:t>
            </a:r>
          </a:p>
          <a:p>
            <a:pPr marL="336145" indent="-336145">
              <a:spcAft>
                <a:spcPts val="588"/>
              </a:spcAft>
              <a:buFont typeface="Arial" panose="020B0604020202020204" pitchFamily="34" charset="0"/>
              <a:buChar char="•"/>
            </a:pPr>
            <a:r>
              <a:rPr lang="en-US">
                <a:gradFill>
                  <a:gsLst>
                    <a:gs pos="2917">
                      <a:schemeClr val="tx1"/>
                    </a:gs>
                    <a:gs pos="30000">
                      <a:schemeClr val="tx1"/>
                    </a:gs>
                  </a:gsLst>
                  <a:lin ang="5400000" scaled="0"/>
                </a:gradFill>
              </a:rPr>
              <a:t>Comparison of document contents to identify key differences</a:t>
            </a:r>
          </a:p>
          <a:p>
            <a:pPr marL="336145" indent="-336145">
              <a:spcAft>
                <a:spcPts val="588"/>
              </a:spcAft>
              <a:buFont typeface="Arial" panose="020B0604020202020204" pitchFamily="34" charset="0"/>
              <a:buChar char="•"/>
            </a:pPr>
            <a:r>
              <a:rPr lang="en-US">
                <a:gradFill>
                  <a:gsLst>
                    <a:gs pos="2917">
                      <a:schemeClr val="tx1"/>
                    </a:gs>
                    <a:gs pos="30000">
                      <a:schemeClr val="tx1"/>
                    </a:gs>
                  </a:gsLst>
                  <a:lin ang="5400000" scaled="0"/>
                </a:gradFill>
              </a:rPr>
              <a:t>Accurate language translation for diverse document types</a:t>
            </a:r>
          </a:p>
          <a:p>
            <a:pPr marL="336145" indent="-336145">
              <a:spcAft>
                <a:spcPts val="588"/>
              </a:spcAft>
              <a:buFont typeface="Arial" panose="020B0604020202020204" pitchFamily="34" charset="0"/>
              <a:buChar char="•"/>
            </a:pPr>
            <a:r>
              <a:rPr lang="en-US">
                <a:gradFill>
                  <a:gsLst>
                    <a:gs pos="2917">
                      <a:schemeClr val="tx1"/>
                    </a:gs>
                    <a:gs pos="30000">
                      <a:schemeClr val="tx1"/>
                    </a:gs>
                  </a:gsLst>
                  <a:lin ang="5400000" scaled="0"/>
                </a:gradFill>
              </a:rPr>
              <a:t>Trend and pattern detection within large volumes of text</a:t>
            </a:r>
          </a:p>
        </p:txBody>
      </p:sp>
      <p:sp>
        <p:nvSpPr>
          <p:cNvPr id="7" name="Title 1">
            <a:extLst>
              <a:ext uri="{FF2B5EF4-FFF2-40B4-BE49-F238E27FC236}">
                <a16:creationId xmlns:a16="http://schemas.microsoft.com/office/drawing/2014/main" id="{C74097F0-8934-25EB-877F-028106EB2807}"/>
              </a:ext>
            </a:extLst>
          </p:cNvPr>
          <p:cNvSpPr txBox="1">
            <a:spLocks/>
          </p:cNvSpPr>
          <p:nvPr/>
        </p:nvSpPr>
        <p:spPr>
          <a:xfrm>
            <a:off x="737668" y="607026"/>
            <a:ext cx="11018520" cy="543097"/>
          </a:xfrm>
          <a:prstGeom prst="rect">
            <a:avLst/>
          </a:prstGeom>
        </p:spPr>
        <p:txBody>
          <a:bodyPr vert="horz" wrap="square" lIns="0" tIns="0" rIns="0" bIns="0" rtlCol="0" anchor="t">
            <a:spAutoFit/>
          </a:bodyPr>
          <a:lst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529">
                <a:solidFill>
                  <a:schemeClr val="tx2"/>
                </a:solidFill>
                <a:latin typeface="+mn-lt"/>
                <a:cs typeface="Segoe UI"/>
              </a:rPr>
              <a:t>Core Capabilities: Doc &amp; Data Intelligence </a:t>
            </a:r>
          </a:p>
        </p:txBody>
      </p:sp>
      <p:sp>
        <p:nvSpPr>
          <p:cNvPr id="8" name="TextBox 7">
            <a:extLst>
              <a:ext uri="{FF2B5EF4-FFF2-40B4-BE49-F238E27FC236}">
                <a16:creationId xmlns:a16="http://schemas.microsoft.com/office/drawing/2014/main" id="{3DBCE224-C148-5BE5-3C53-349B9BE1ED0E}"/>
              </a:ext>
            </a:extLst>
          </p:cNvPr>
          <p:cNvSpPr txBox="1"/>
          <p:nvPr/>
        </p:nvSpPr>
        <p:spPr>
          <a:xfrm>
            <a:off x="6458367" y="1882910"/>
            <a:ext cx="5255343" cy="3220753"/>
          </a:xfrm>
          <a:prstGeom prst="rect">
            <a:avLst/>
          </a:prstGeom>
          <a:noFill/>
        </p:spPr>
        <p:txBody>
          <a:bodyPr wrap="square" lIns="0" tIns="0" rIns="0" bIns="0" rtlCol="0">
            <a:spAutoFit/>
          </a:bodyPr>
          <a:lstStyle/>
          <a:p>
            <a:pPr algn="ctr">
              <a:spcAft>
                <a:spcPts val="1765"/>
              </a:spcAft>
            </a:pPr>
            <a:r>
              <a:rPr lang="en-US" sz="3529" b="1">
                <a:solidFill>
                  <a:schemeClr val="accent1">
                    <a:lumMod val="75000"/>
                  </a:schemeClr>
                </a:solidFill>
              </a:rPr>
              <a:t>Data Intelligence</a:t>
            </a:r>
            <a:endParaRPr lang="en-US" sz="1961">
              <a:gradFill>
                <a:gsLst>
                  <a:gs pos="2917">
                    <a:schemeClr val="tx1"/>
                  </a:gs>
                  <a:gs pos="30000">
                    <a:schemeClr val="tx1"/>
                  </a:gs>
                </a:gsLst>
                <a:lin ang="5400000" scaled="0"/>
              </a:gradFill>
            </a:endParaRPr>
          </a:p>
          <a:p>
            <a:pPr marL="336145" indent="-336145">
              <a:spcAft>
                <a:spcPts val="588"/>
              </a:spcAft>
              <a:buFont typeface="Arial" panose="020B0604020202020204" pitchFamily="34" charset="0"/>
              <a:buChar char="•"/>
            </a:pPr>
            <a:r>
              <a:rPr lang="en-US">
                <a:gradFill>
                  <a:gsLst>
                    <a:gs pos="2917">
                      <a:schemeClr val="tx1"/>
                    </a:gs>
                    <a:gs pos="30000">
                      <a:schemeClr val="tx1"/>
                    </a:gs>
                  </a:gsLst>
                  <a:lin ang="5400000" scaled="0"/>
                </a:gradFill>
              </a:rPr>
              <a:t>Connect to any data source, integrating seamlessly with AI.</a:t>
            </a:r>
          </a:p>
          <a:p>
            <a:pPr marL="336145" indent="-336145">
              <a:spcAft>
                <a:spcPts val="588"/>
              </a:spcAft>
              <a:buFont typeface="Arial" panose="020B0604020202020204" pitchFamily="34" charset="0"/>
              <a:buChar char="•"/>
            </a:pPr>
            <a:r>
              <a:rPr lang="en-US">
                <a:gradFill>
                  <a:gsLst>
                    <a:gs pos="2917">
                      <a:schemeClr val="tx1"/>
                    </a:gs>
                    <a:gs pos="30000">
                      <a:schemeClr val="tx1"/>
                    </a:gs>
                  </a:gsLst>
                  <a:lin ang="5400000" scaled="0"/>
                </a:gradFill>
              </a:rPr>
              <a:t>Utilize AI to uncover deep insights from complex datasets.</a:t>
            </a:r>
          </a:p>
          <a:p>
            <a:pPr marL="336145" indent="-336145">
              <a:spcAft>
                <a:spcPts val="588"/>
              </a:spcAft>
              <a:buFont typeface="Arial" panose="020B0604020202020204" pitchFamily="34" charset="0"/>
              <a:buChar char="•"/>
            </a:pPr>
            <a:r>
              <a:rPr lang="en-US">
                <a:gradFill>
                  <a:gsLst>
                    <a:gs pos="2917">
                      <a:schemeClr val="tx1"/>
                    </a:gs>
                    <a:gs pos="30000">
                      <a:schemeClr val="tx1"/>
                    </a:gs>
                  </a:gsLst>
                  <a:lin ang="5400000" scaled="0"/>
                </a:gradFill>
              </a:rPr>
              <a:t>Empower finance to do real-time decision-making with dynamic, AI-driven data analysis.</a:t>
            </a:r>
          </a:p>
          <a:p>
            <a:pPr marL="336145" indent="-336145">
              <a:spcAft>
                <a:spcPts val="588"/>
              </a:spcAft>
              <a:buFont typeface="Arial" panose="020B0604020202020204" pitchFamily="34" charset="0"/>
              <a:buChar char="•"/>
            </a:pPr>
            <a:r>
              <a:rPr lang="en-US">
                <a:gradFill>
                  <a:gsLst>
                    <a:gs pos="2917">
                      <a:schemeClr val="tx1"/>
                    </a:gs>
                    <a:gs pos="30000">
                      <a:schemeClr val="tx1"/>
                    </a:gs>
                  </a:gsLst>
                  <a:lin ang="5400000" scaled="0"/>
                </a:gradFill>
              </a:rPr>
              <a:t>Leverage predictive analytics to forecast trends and guide strategic planning.</a:t>
            </a:r>
          </a:p>
        </p:txBody>
      </p:sp>
      <p:cxnSp>
        <p:nvCxnSpPr>
          <p:cNvPr id="10" name="Straight Connector 9">
            <a:extLst>
              <a:ext uri="{FF2B5EF4-FFF2-40B4-BE49-F238E27FC236}">
                <a16:creationId xmlns:a16="http://schemas.microsoft.com/office/drawing/2014/main" id="{99996863-27F7-F03A-4A07-4F303A698449}"/>
              </a:ext>
            </a:extLst>
          </p:cNvPr>
          <p:cNvCxnSpPr>
            <a:cxnSpLocks/>
          </p:cNvCxnSpPr>
          <p:nvPr/>
        </p:nvCxnSpPr>
        <p:spPr>
          <a:xfrm>
            <a:off x="5998826" y="1953891"/>
            <a:ext cx="0" cy="3858488"/>
          </a:xfrm>
          <a:prstGeom prst="line">
            <a:avLst/>
          </a:prstGeom>
          <a:ln>
            <a:headEnd type="none" w="lg" len="med"/>
            <a:tailEnd type="none" w="lg"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58344406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E4FB72-2D13-FFF8-39E7-90E586DB86A7}"/>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80E93E2D-7574-B64C-4A42-16478AE3CA43}"/>
              </a:ext>
            </a:extLst>
          </p:cNvPr>
          <p:cNvSpPr txBox="1"/>
          <p:nvPr/>
        </p:nvSpPr>
        <p:spPr>
          <a:xfrm>
            <a:off x="386611" y="2070226"/>
            <a:ext cx="5255343" cy="3143809"/>
          </a:xfrm>
          <a:prstGeom prst="rect">
            <a:avLst/>
          </a:prstGeom>
          <a:noFill/>
        </p:spPr>
        <p:txBody>
          <a:bodyPr wrap="square" lIns="0" tIns="0" rIns="0" bIns="0" rtlCol="0">
            <a:spAutoFit/>
          </a:bodyPr>
          <a:lstStyle/>
          <a:p>
            <a:pPr algn="ctr">
              <a:spcAft>
                <a:spcPts val="1765"/>
              </a:spcAft>
            </a:pPr>
            <a:r>
              <a:rPr lang="en-US" sz="3529" b="1">
                <a:solidFill>
                  <a:schemeClr val="accent1">
                    <a:lumMod val="75000"/>
                  </a:schemeClr>
                </a:solidFill>
              </a:rPr>
              <a:t>Prompt-Response</a:t>
            </a:r>
            <a:endParaRPr lang="en-US" sz="1961">
              <a:gradFill>
                <a:gsLst>
                  <a:gs pos="2917">
                    <a:schemeClr val="tx1"/>
                  </a:gs>
                  <a:gs pos="30000">
                    <a:schemeClr val="tx1"/>
                  </a:gs>
                </a:gsLst>
                <a:lin ang="5400000" scaled="0"/>
              </a:gradFill>
            </a:endParaRPr>
          </a:p>
          <a:p>
            <a:pPr marL="336145" indent="-336145">
              <a:spcAft>
                <a:spcPts val="588"/>
              </a:spcAft>
              <a:buFont typeface="Arial" panose="020B0604020202020204" pitchFamily="34" charset="0"/>
              <a:buChar char="•"/>
            </a:pPr>
            <a:r>
              <a:rPr lang="en-US">
                <a:gradFill>
                  <a:gsLst>
                    <a:gs pos="2917">
                      <a:schemeClr val="tx1"/>
                    </a:gs>
                    <a:gs pos="30000">
                      <a:schemeClr val="tx1"/>
                    </a:gs>
                  </a:gsLst>
                  <a:lin ang="5400000" scaled="0"/>
                </a:gradFill>
              </a:rPr>
              <a:t>Use an AI assistant for direct, real-time interaction to receive immediate feedback and assistance.</a:t>
            </a:r>
          </a:p>
          <a:p>
            <a:pPr marL="336145" indent="-336145">
              <a:spcAft>
                <a:spcPts val="588"/>
              </a:spcAft>
              <a:buFont typeface="Arial" panose="020B0604020202020204" pitchFamily="34" charset="0"/>
              <a:buChar char="•"/>
            </a:pPr>
            <a:r>
              <a:rPr lang="en-US">
                <a:gradFill>
                  <a:gsLst>
                    <a:gs pos="2917">
                      <a:schemeClr val="tx1"/>
                    </a:gs>
                    <a:gs pos="30000">
                      <a:schemeClr val="tx1"/>
                    </a:gs>
                  </a:gsLst>
                  <a:lin ang="5400000" scaled="0"/>
                </a:gradFill>
              </a:rPr>
              <a:t>Adaptive AI responses evolve from each user interaction, enhancing accuracy and relevance.</a:t>
            </a:r>
          </a:p>
          <a:p>
            <a:pPr marL="336145" indent="-336145">
              <a:spcAft>
                <a:spcPts val="588"/>
              </a:spcAft>
              <a:buFont typeface="Arial" panose="020B0604020202020204" pitchFamily="34" charset="0"/>
              <a:buChar char="•"/>
            </a:pPr>
            <a:r>
              <a:rPr lang="en-US">
                <a:gradFill>
                  <a:gsLst>
                    <a:gs pos="2917">
                      <a:schemeClr val="tx1"/>
                    </a:gs>
                    <a:gs pos="30000">
                      <a:schemeClr val="tx1"/>
                    </a:gs>
                  </a:gsLst>
                  <a:lin ang="5400000" scaled="0"/>
                </a:gradFill>
              </a:rPr>
              <a:t>Enable swift problem-solving and decision support, improving overall efficiency and user experience.</a:t>
            </a:r>
          </a:p>
        </p:txBody>
      </p:sp>
      <p:sp>
        <p:nvSpPr>
          <p:cNvPr id="7" name="Title 1">
            <a:extLst>
              <a:ext uri="{FF2B5EF4-FFF2-40B4-BE49-F238E27FC236}">
                <a16:creationId xmlns:a16="http://schemas.microsoft.com/office/drawing/2014/main" id="{ADA8112E-8038-6C3B-3A55-7C4D225B85F7}"/>
              </a:ext>
            </a:extLst>
          </p:cNvPr>
          <p:cNvSpPr txBox="1">
            <a:spLocks/>
          </p:cNvSpPr>
          <p:nvPr/>
        </p:nvSpPr>
        <p:spPr>
          <a:xfrm>
            <a:off x="737668" y="607026"/>
            <a:ext cx="11018520" cy="543097"/>
          </a:xfrm>
          <a:prstGeom prst="rect">
            <a:avLst/>
          </a:prstGeom>
        </p:spPr>
        <p:txBody>
          <a:bodyPr vert="horz" wrap="square" lIns="0" tIns="0" rIns="0" bIns="0" rtlCol="0" anchor="t">
            <a:spAutoFit/>
          </a:bodyPr>
          <a:lst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fr-FR" sz="3529" dirty="0">
                <a:solidFill>
                  <a:schemeClr val="tx2"/>
                </a:solidFill>
                <a:latin typeface="+mn-lt"/>
                <a:cs typeface="Segoe UI"/>
              </a:rPr>
              <a:t>AI Engagement </a:t>
            </a:r>
            <a:r>
              <a:rPr lang="fr-FR" sz="3529" dirty="0" err="1">
                <a:solidFill>
                  <a:schemeClr val="tx2"/>
                </a:solidFill>
                <a:latin typeface="+mn-lt"/>
                <a:cs typeface="Segoe UI"/>
              </a:rPr>
              <a:t>Models</a:t>
            </a:r>
            <a:r>
              <a:rPr lang="fr-FR" sz="3529" dirty="0">
                <a:solidFill>
                  <a:schemeClr val="tx2"/>
                </a:solidFill>
                <a:latin typeface="+mn-lt"/>
                <a:cs typeface="Segoe UI"/>
              </a:rPr>
              <a:t>: Prompt vs. </a:t>
            </a:r>
            <a:r>
              <a:rPr lang="fr-FR" sz="3529" dirty="0" err="1">
                <a:solidFill>
                  <a:schemeClr val="tx2"/>
                </a:solidFill>
                <a:latin typeface="+mn-lt"/>
                <a:cs typeface="Segoe UI"/>
              </a:rPr>
              <a:t>Automated</a:t>
            </a:r>
            <a:endParaRPr lang="en-US" sz="3529" dirty="0">
              <a:solidFill>
                <a:schemeClr val="tx2"/>
              </a:solidFill>
              <a:latin typeface="+mn-lt"/>
              <a:cs typeface="Segoe UI"/>
            </a:endParaRPr>
          </a:p>
        </p:txBody>
      </p:sp>
      <p:sp>
        <p:nvSpPr>
          <p:cNvPr id="8" name="TextBox 7">
            <a:extLst>
              <a:ext uri="{FF2B5EF4-FFF2-40B4-BE49-F238E27FC236}">
                <a16:creationId xmlns:a16="http://schemas.microsoft.com/office/drawing/2014/main" id="{FD0F02D7-669D-775C-F1F2-50175176685E}"/>
              </a:ext>
            </a:extLst>
          </p:cNvPr>
          <p:cNvSpPr txBox="1"/>
          <p:nvPr/>
        </p:nvSpPr>
        <p:spPr>
          <a:xfrm>
            <a:off x="6458367" y="2070226"/>
            <a:ext cx="5255343" cy="2866810"/>
          </a:xfrm>
          <a:prstGeom prst="rect">
            <a:avLst/>
          </a:prstGeom>
          <a:noFill/>
        </p:spPr>
        <p:txBody>
          <a:bodyPr wrap="square" lIns="0" tIns="0" rIns="0" bIns="0" rtlCol="0">
            <a:spAutoFit/>
          </a:bodyPr>
          <a:lstStyle/>
          <a:p>
            <a:pPr algn="ctr">
              <a:spcAft>
                <a:spcPts val="1765"/>
              </a:spcAft>
            </a:pPr>
            <a:r>
              <a:rPr lang="en-US" sz="3529" b="1" dirty="0">
                <a:solidFill>
                  <a:schemeClr val="accent1">
                    <a:lumMod val="75000"/>
                  </a:schemeClr>
                </a:solidFill>
              </a:rPr>
              <a:t>Automated</a:t>
            </a:r>
            <a:endParaRPr lang="en-US" dirty="0">
              <a:gradFill>
                <a:gsLst>
                  <a:gs pos="2917">
                    <a:schemeClr val="tx1"/>
                  </a:gs>
                  <a:gs pos="30000">
                    <a:schemeClr val="tx1"/>
                  </a:gs>
                </a:gsLst>
                <a:lin ang="5400000" scaled="0"/>
              </a:gradFill>
            </a:endParaRPr>
          </a:p>
          <a:p>
            <a:pPr marL="336145" indent="-336145">
              <a:spcAft>
                <a:spcPts val="588"/>
              </a:spcAft>
              <a:buFont typeface="Arial" panose="020B0604020202020204" pitchFamily="34" charset="0"/>
              <a:buChar char="•"/>
            </a:pPr>
            <a:r>
              <a:rPr lang="en-US" dirty="0">
                <a:gradFill>
                  <a:gsLst>
                    <a:gs pos="2917">
                      <a:schemeClr val="tx1"/>
                    </a:gs>
                    <a:gs pos="30000">
                      <a:schemeClr val="tx1"/>
                    </a:gs>
                  </a:gsLst>
                  <a:lin ang="5400000" scaled="0"/>
                </a:gradFill>
              </a:rPr>
              <a:t>AI operates in the background based on predefined prompts and conditions.</a:t>
            </a:r>
          </a:p>
          <a:p>
            <a:pPr marL="336145" indent="-336145">
              <a:spcAft>
                <a:spcPts val="588"/>
              </a:spcAft>
              <a:buFont typeface="Arial" panose="020B0604020202020204" pitchFamily="34" charset="0"/>
              <a:buChar char="•"/>
            </a:pPr>
            <a:r>
              <a:rPr lang="en-US" dirty="0">
                <a:gradFill>
                  <a:gsLst>
                    <a:gs pos="2917">
                      <a:schemeClr val="tx1"/>
                    </a:gs>
                    <a:gs pos="30000">
                      <a:schemeClr val="tx1"/>
                    </a:gs>
                  </a:gsLst>
                  <a:lin ang="5400000" scaled="0"/>
                </a:gradFill>
              </a:rPr>
              <a:t>Conducts continuous background processing for data analysis, info generation, and monitoring.</a:t>
            </a:r>
          </a:p>
          <a:p>
            <a:pPr marL="336145" indent="-336145">
              <a:spcAft>
                <a:spcPts val="588"/>
              </a:spcAft>
              <a:buFont typeface="Arial" panose="020B0604020202020204" pitchFamily="34" charset="0"/>
              <a:buChar char="•"/>
            </a:pPr>
            <a:r>
              <a:rPr lang="en-US" dirty="0">
                <a:gradFill>
                  <a:gsLst>
                    <a:gs pos="2917">
                      <a:schemeClr val="tx1"/>
                    </a:gs>
                    <a:gs pos="30000">
                      <a:schemeClr val="tx1"/>
                    </a:gs>
                  </a:gsLst>
                  <a:lin ang="5400000" scaled="0"/>
                </a:gradFill>
              </a:rPr>
              <a:t>Automates tasks to streamline operations and prepare actionable insights without user intervention.</a:t>
            </a:r>
          </a:p>
        </p:txBody>
      </p:sp>
      <p:cxnSp>
        <p:nvCxnSpPr>
          <p:cNvPr id="10" name="Straight Connector 9">
            <a:extLst>
              <a:ext uri="{FF2B5EF4-FFF2-40B4-BE49-F238E27FC236}">
                <a16:creationId xmlns:a16="http://schemas.microsoft.com/office/drawing/2014/main" id="{54D3F2AF-9472-328F-E70F-37EF58786ABF}"/>
              </a:ext>
            </a:extLst>
          </p:cNvPr>
          <p:cNvCxnSpPr/>
          <p:nvPr/>
        </p:nvCxnSpPr>
        <p:spPr>
          <a:xfrm>
            <a:off x="5996384" y="1895655"/>
            <a:ext cx="0" cy="3339289"/>
          </a:xfrm>
          <a:prstGeom prst="line">
            <a:avLst/>
          </a:prstGeom>
          <a:ln>
            <a:headEnd type="none" w="lg" len="med"/>
            <a:tailEnd type="none" w="lg"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1902362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AEE43E-B3B7-C991-3C99-E3E007D25860}"/>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346F010C-5B00-643E-4343-9D30E675B846}"/>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946556A1-BC58-569C-63D5-57E9D3769A6F}"/>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B55B66F3-1918-E09E-A84B-753183E9DC62}"/>
              </a:ext>
            </a:extLst>
          </p:cNvPr>
          <p:cNvSpPr txBox="1"/>
          <p:nvPr/>
        </p:nvSpPr>
        <p:spPr>
          <a:xfrm>
            <a:off x="670560" y="2177143"/>
            <a:ext cx="8534400" cy="2246769"/>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tx2">
                    <a:lumMod val="40000"/>
                    <a:lumOff val="60000"/>
                  </a:schemeClr>
                </a:solidFill>
                <a:latin typeface="+mn-lt"/>
              </a:rPr>
              <a:t>Course Overview</a:t>
            </a:r>
          </a:p>
          <a:p>
            <a:pPr marL="285750" indent="-285750">
              <a:buFont typeface="Arial" panose="020B0604020202020204" pitchFamily="34" charset="0"/>
              <a:buChar char="•"/>
            </a:pPr>
            <a:r>
              <a:rPr lang="en-US" sz="2800" b="1" dirty="0">
                <a:solidFill>
                  <a:schemeClr val="bg1"/>
                </a:solidFill>
                <a:latin typeface="+mn-lt"/>
              </a:rPr>
              <a:t>Syllabus</a:t>
            </a:r>
          </a:p>
          <a:p>
            <a:pPr marL="285750" indent="-285750">
              <a:buFont typeface="Arial" panose="020B0604020202020204" pitchFamily="34" charset="0"/>
              <a:buChar char="•"/>
            </a:pPr>
            <a:r>
              <a:rPr lang="en-US" sz="2800" dirty="0">
                <a:solidFill>
                  <a:schemeClr val="bg1"/>
                </a:solidFill>
                <a:latin typeface="+mn-lt"/>
              </a:rPr>
              <a:t>Internship Reflection</a:t>
            </a:r>
          </a:p>
          <a:p>
            <a:pPr marL="285750" indent="-285750">
              <a:buFont typeface="Arial" panose="020B0604020202020204" pitchFamily="34" charset="0"/>
              <a:buChar char="•"/>
            </a:pPr>
            <a:r>
              <a:rPr lang="en-US" sz="2800" dirty="0" err="1">
                <a:solidFill>
                  <a:schemeClr val="bg1"/>
                </a:solidFill>
                <a:latin typeface="+mn-lt"/>
              </a:rPr>
              <a:t>UIPath</a:t>
            </a:r>
            <a:r>
              <a:rPr lang="en-US" sz="2800" dirty="0">
                <a:solidFill>
                  <a:schemeClr val="bg1"/>
                </a:solidFill>
                <a:latin typeface="+mn-lt"/>
              </a:rPr>
              <a:t> Licenses</a:t>
            </a:r>
          </a:p>
          <a:p>
            <a:pPr marL="285750" indent="-285750">
              <a:buFont typeface="Arial" panose="020B0604020202020204" pitchFamily="34" charset="0"/>
              <a:buChar char="•"/>
            </a:pPr>
            <a:r>
              <a:rPr lang="en-US" sz="2800" dirty="0" err="1">
                <a:solidFill>
                  <a:schemeClr val="bg1"/>
                </a:solidFill>
                <a:latin typeface="+mn-lt"/>
              </a:rPr>
              <a:t>LucidChart</a:t>
            </a:r>
            <a:r>
              <a:rPr lang="en-US" sz="2800" dirty="0">
                <a:solidFill>
                  <a:schemeClr val="bg1"/>
                </a:solidFill>
                <a:latin typeface="+mn-lt"/>
              </a:rPr>
              <a:t> Process Maps Exercise</a:t>
            </a:r>
          </a:p>
        </p:txBody>
      </p:sp>
    </p:spTree>
    <p:extLst>
      <p:ext uri="{BB962C8B-B14F-4D97-AF65-F5344CB8AC3E}">
        <p14:creationId xmlns:p14="http://schemas.microsoft.com/office/powerpoint/2010/main" val="429174307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 Foster MBA Career Mgmt">
  <a:themeElements>
    <a:clrScheme name="2024 FOSTER 2">
      <a:dk1>
        <a:srgbClr val="000000"/>
      </a:dk1>
      <a:lt1>
        <a:srgbClr val="FFFFFF"/>
      </a:lt1>
      <a:dk2>
        <a:srgbClr val="32006E"/>
      </a:dk2>
      <a:lt2>
        <a:srgbClr val="F5F5F9"/>
      </a:lt2>
      <a:accent1>
        <a:srgbClr val="B7A579"/>
      </a:accent1>
      <a:accent2>
        <a:srgbClr val="8C51FF"/>
      </a:accent2>
      <a:accent3>
        <a:srgbClr val="917B4C"/>
      </a:accent3>
      <a:accent4>
        <a:srgbClr val="000000"/>
      </a:accent4>
      <a:accent5>
        <a:srgbClr val="CACACA"/>
      </a:accent5>
      <a:accent6>
        <a:srgbClr val="E8E8E8"/>
      </a:accent6>
      <a:hlink>
        <a:srgbClr val="0000DE"/>
      </a:hlink>
      <a:folHlink>
        <a:srgbClr val="4B2E84"/>
      </a:folHlink>
    </a:clrScheme>
    <a:fontScheme name="Custom 1">
      <a:majorFont>
        <a:latin typeface="Encode Sans Normal"/>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a:latin typeface="+mn-lt"/>
          </a:defRPr>
        </a:defPPr>
      </a:lstStyle>
    </a:txDef>
  </a:objectDefaults>
  <a:extraClrSchemeLst/>
  <a:extLst>
    <a:ext uri="{05A4C25C-085E-4340-85A3-A5531E510DB2}">
      <thm15:themeFamily xmlns:thm15="http://schemas.microsoft.com/office/thememl/2012/main" name="Presentation1" id="{1C7B8D69-E992-4B43-B8A5-D73B65F86016}" vid="{34CB0E5B-CF5B-A84B-814E-63FB8F3B9A0E}"/>
    </a:ext>
  </a:extLst>
</a:theme>
</file>

<file path=ppt/theme/theme2.xml><?xml version="1.0" encoding="utf-8"?>
<a:theme xmlns:a="http://schemas.openxmlformats.org/drawingml/2006/main" name="Deloitte Wells Fargo Template 16x9 Jun 2019">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Consulting Widescreen Template 120318-TR.potx" id="{EA98DD11-CC3E-47B5-9DFD-6596A6E2C165}" vid="{D83D418B-710B-4FB7-96DD-7EB7587EBCAF}"/>
    </a:ext>
  </a:extLst>
</a:theme>
</file>

<file path=ppt/theme/theme3.xml><?xml version="1.0" encoding="utf-8"?>
<a:theme xmlns:a="http://schemas.openxmlformats.org/drawingml/2006/main" name="Everyday Templat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Everyday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gray">
        <a:ln w="101600" cmpd="sng">
          <a:solidFill>
            <a:schemeClr val="bg1">
              <a:lumMod val="75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dirty="0" smtClean="0">
            <a:solidFill>
              <a:schemeClr val="tx1">
                <a:lumMod val="75000"/>
                <a:lumOff val="25000"/>
              </a:schemeClr>
            </a:solidFill>
          </a:defRPr>
        </a:defPPr>
      </a:lstStyle>
    </a:txDef>
  </a:objectDefaults>
  <a:extraClrSchemeLst/>
</a:theme>
</file>

<file path=ppt/theme/theme4.xml><?xml version="1.0" encoding="utf-8"?>
<a:theme xmlns:a="http://schemas.openxmlformats.org/drawingml/2006/main" name="1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Education_2019_01.potx" id="{B92F1A48-DEE9-48F5-AAC9-DFF5938A8CFD}" vid="{C792CC7E-08FE-42B5-BB09-2694ECCB7BA9}"/>
    </a:ext>
  </a:extLst>
</a:theme>
</file>

<file path=ppt/theme/theme5.xml><?xml version="1.0" encoding="utf-8"?>
<a:theme xmlns:a="http://schemas.openxmlformats.org/drawingml/2006/main" name="11_WHITE TEMPLATE">
  <a:themeElements>
    <a:clrScheme name="BT - Dark blue on white">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704735CF7814E419237D188CCA99D12" ma:contentTypeVersion="18" ma:contentTypeDescription="Create a new document." ma:contentTypeScope="" ma:versionID="10a725dba565dc58e2c914dd0d122edf">
  <xsd:schema xmlns:xsd="http://www.w3.org/2001/XMLSchema" xmlns:xs="http://www.w3.org/2001/XMLSchema" xmlns:p="http://schemas.microsoft.com/office/2006/metadata/properties" xmlns:ns3="5c288162-3a0f-49b6-8fe2-59156172891e" xmlns:ns4="f8a977ae-6c68-4349-a9b4-32a805694cd6" targetNamespace="http://schemas.microsoft.com/office/2006/metadata/properties" ma:root="true" ma:fieldsID="856c8ce2133000ab921a7f44a1343636" ns3:_="" ns4:_="">
    <xsd:import namespace="5c288162-3a0f-49b6-8fe2-59156172891e"/>
    <xsd:import namespace="f8a977ae-6c68-4349-a9b4-32a805694cd6"/>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EventHashCode" minOccurs="0"/>
                <xsd:element ref="ns3:MediaServiceGenerationTime" minOccurs="0"/>
                <xsd:element ref="ns3:MediaServiceDateTaken" minOccurs="0"/>
                <xsd:element ref="ns3:MediaServiceAutoTags" minOccurs="0"/>
                <xsd:element ref="ns3:MediaServiceLocation" minOccurs="0"/>
                <xsd:element ref="ns3:MediaServiceOCR" minOccurs="0"/>
                <xsd:element ref="ns3:MediaServiceAutoKeyPoints" minOccurs="0"/>
                <xsd:element ref="ns3:MediaServiceKeyPoints" minOccurs="0"/>
                <xsd:element ref="ns3:MediaLengthInSeconds" minOccurs="0"/>
                <xsd:element ref="ns3:_activity" minOccurs="0"/>
                <xsd:element ref="ns3:MediaServiceSearchProperties" minOccurs="0"/>
                <xsd:element ref="ns3:MediaServiceObjectDetectorVersion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288162-3a0f-49b6-8fe2-5915617289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ystemTags" ma:index="25"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8a977ae-6c68-4349-a9b4-32a805694cd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5c288162-3a0f-49b6-8fe2-59156172891e" xsi:nil="true"/>
  </documentManagement>
</p:properties>
</file>

<file path=customXml/itemProps1.xml><?xml version="1.0" encoding="utf-8"?>
<ds:datastoreItem xmlns:ds="http://schemas.openxmlformats.org/officeDocument/2006/customXml" ds:itemID="{8A388BBE-3A27-4363-8BAD-62E63CE6E6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288162-3a0f-49b6-8fe2-59156172891e"/>
    <ds:schemaRef ds:uri="f8a977ae-6c68-4349-a9b4-32a805694cd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AD19970-72E7-4235-9CB5-193B789FDA1E}">
  <ds:schemaRefs>
    <ds:schemaRef ds:uri="http://schemas.microsoft.com/sharepoint/v3/contenttype/forms"/>
  </ds:schemaRefs>
</ds:datastoreItem>
</file>

<file path=customXml/itemProps3.xml><?xml version="1.0" encoding="utf-8"?>
<ds:datastoreItem xmlns:ds="http://schemas.openxmlformats.org/officeDocument/2006/customXml" ds:itemID="{262100F4-8404-444D-B93D-52BC86019349}">
  <ds:schemaRefs>
    <ds:schemaRef ds:uri="http://schemas.microsoft.com/office/2006/metadata/properties"/>
    <ds:schemaRef ds:uri="http://schemas.microsoft.com/office/2006/documentManagement/types"/>
    <ds:schemaRef ds:uri="http://purl.org/dc/dcmitype/"/>
    <ds:schemaRef ds:uri="http://www.w3.org/XML/1998/namespace"/>
    <ds:schemaRef ds:uri="http://purl.org/dc/terms/"/>
    <ds:schemaRef ds:uri="http://schemas.microsoft.com/office/infopath/2007/PartnerControls"/>
    <ds:schemaRef ds:uri="5c288162-3a0f-49b6-8fe2-59156172891e"/>
    <ds:schemaRef ds:uri="http://schemas.openxmlformats.org/package/2006/metadata/core-properties"/>
    <ds:schemaRef ds:uri="f8a977ae-6c68-4349-a9b4-32a805694cd6"/>
    <ds:schemaRef ds:uri="http://purl.org/dc/elements/1.1/"/>
  </ds:schemaRefs>
</ds:datastoreItem>
</file>

<file path=docMetadata/LabelInfo.xml><?xml version="1.0" encoding="utf-8"?>
<clbl:labelList xmlns:clbl="http://schemas.microsoft.com/office/2020/mipLabelMetadata">
  <clbl:label id="{f6b6dd5b-f02f-441a-99a0-162ac5060bd2}" enabled="0" method="" siteId="{f6b6dd5b-f02f-441a-99a0-162ac5060bd2}" removed="1"/>
</clbl:labelList>
</file>

<file path=docProps/app.xml><?xml version="1.0" encoding="utf-8"?>
<Properties xmlns="http://schemas.openxmlformats.org/officeDocument/2006/extended-properties" xmlns:vt="http://schemas.openxmlformats.org/officeDocument/2006/docPropsVTypes">
  <Template>2024-Foster-General-Template</Template>
  <TotalTime>1227</TotalTime>
  <Words>564</Words>
  <Application>Microsoft Office PowerPoint</Application>
  <PresentationFormat>Widescreen</PresentationFormat>
  <Paragraphs>87</Paragraphs>
  <Slides>16</Slides>
  <Notes>2</Notes>
  <HiddenSlides>0</HiddenSlides>
  <MMClips>0</MMClips>
  <ScaleCrop>false</ScaleCrop>
  <HeadingPairs>
    <vt:vector size="8" baseType="variant">
      <vt:variant>
        <vt:lpstr>Fonts Used</vt:lpstr>
      </vt:variant>
      <vt:variant>
        <vt:i4>21</vt:i4>
      </vt:variant>
      <vt:variant>
        <vt:lpstr>Theme</vt:lpstr>
      </vt:variant>
      <vt:variant>
        <vt:i4>5</vt:i4>
      </vt:variant>
      <vt:variant>
        <vt:lpstr>Embedded OLE Servers</vt:lpstr>
      </vt:variant>
      <vt:variant>
        <vt:i4>1</vt:i4>
      </vt:variant>
      <vt:variant>
        <vt:lpstr>Slide Titles</vt:lpstr>
      </vt:variant>
      <vt:variant>
        <vt:i4>16</vt:i4>
      </vt:variant>
    </vt:vector>
  </HeadingPairs>
  <TitlesOfParts>
    <vt:vector size="43" baseType="lpstr">
      <vt:lpstr>Aptos</vt:lpstr>
      <vt:lpstr>Arial</vt:lpstr>
      <vt:lpstr>Arial Black</vt:lpstr>
      <vt:lpstr>Calibri</vt:lpstr>
      <vt:lpstr>Calibri Light</vt:lpstr>
      <vt:lpstr>Encode Sans Normal ExtraBold</vt:lpstr>
      <vt:lpstr>Encode Sans Normal Medium</vt:lpstr>
      <vt:lpstr>Lucida Grande</vt:lpstr>
      <vt:lpstr>Nexa Black</vt:lpstr>
      <vt:lpstr>Open Sans</vt:lpstr>
      <vt:lpstr>Open Sans ExtraBold</vt:lpstr>
      <vt:lpstr>Open Sans Light</vt:lpstr>
      <vt:lpstr>Open Sans Semibold</vt:lpstr>
      <vt:lpstr>Open Sans Semibold</vt:lpstr>
      <vt:lpstr>Segoe UI</vt:lpstr>
      <vt:lpstr>Segoe UI Light</vt:lpstr>
      <vt:lpstr>Segoe UI Semibold</vt:lpstr>
      <vt:lpstr>Uni Sans Book</vt:lpstr>
      <vt:lpstr>Verdana</vt:lpstr>
      <vt:lpstr>Wingdings</vt:lpstr>
      <vt:lpstr>Wingdings 2</vt:lpstr>
      <vt:lpstr>W Foster MBA Career Mgmt</vt:lpstr>
      <vt:lpstr>Deloitte Wells Fargo Template 16x9 Jun 2019</vt:lpstr>
      <vt:lpstr>Everyday Template</vt:lpstr>
      <vt:lpstr>1_White Template</vt:lpstr>
      <vt:lpstr>11_WHITE TEMPLATE</vt:lpstr>
      <vt:lpstr>think-cell Slide</vt:lpstr>
      <vt:lpstr>Advanced Cass in Advisory Services: Introduction</vt:lpstr>
      <vt:lpstr>PowerPoint Presentation</vt:lpstr>
      <vt:lpstr>Course Overview</vt:lpstr>
      <vt:lpstr>Automation Technology Progression with AI</vt:lpstr>
      <vt:lpstr>What can we expect robots to do?</vt:lpstr>
      <vt:lpstr>PowerPoint Presentation</vt:lpstr>
      <vt:lpstr>PowerPoint Presentation</vt:lpstr>
      <vt:lpstr>PowerPoint Presentation</vt:lpstr>
      <vt:lpstr>PowerPoint Presentation</vt:lpstr>
      <vt:lpstr>Syllabus Discussion</vt:lpstr>
      <vt:lpstr>Assessment</vt:lpstr>
      <vt:lpstr>PowerPoint Presentation</vt:lpstr>
      <vt:lpstr>Automating Excel</vt:lpstr>
      <vt:lpstr>PowerPoint Presentation</vt:lpstr>
      <vt:lpstr>Lab links (also onlin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novative Insights: Unveiling AI’s Influence on Accounting Practices </dc:title>
  <dc:creator>Asher Curtis</dc:creator>
  <cp:lastModifiedBy>Asher Curtis</cp:lastModifiedBy>
  <cp:revision>2</cp:revision>
  <cp:lastPrinted>2025-04-01T19:55:22Z</cp:lastPrinted>
  <dcterms:created xsi:type="dcterms:W3CDTF">2024-05-15T20:46:54Z</dcterms:created>
  <dcterms:modified xsi:type="dcterms:W3CDTF">2025-04-01T19:55: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04735CF7814E419237D188CCA99D12</vt:lpwstr>
  </property>
</Properties>
</file>